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rawings/legacyDiagramText4.bin" ContentType="application/vnd.ms-office.legacyDiagramText"/>
  <Override PartName="/ppt/drawings/legacyDiagramText5.bin" ContentType="application/vnd.ms-office.legacyDiagramText"/>
  <Override PartName="/ppt/legacyDocTextInfo.bin" ContentType="application/vnd.ms-office.legacyDocTextInfo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rawings/legacyDiagramText1.bin" ContentType="application/vnd.ms-office.legacyDiagramText"/>
  <Override PartName="/ppt/drawings/legacyDiagramText2.bin" ContentType="application/vnd.ms-office.legacyDiagramText"/>
  <Override PartName="/ppt/drawings/legacyDiagramText3.bin" ContentType="application/vnd.ms-office.legacyDiagramText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diagrams/colors2.xml" ContentType="application/vnd.openxmlformats-officedocument.drawingml.diagramColors+xml"/>
  <Override PartName="/ppt/diagrams/drawing3.xml" ContentType="application/vnd.ms-office.drawingml.diagramDrawing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diagrams/layout4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77" r:id="rId3"/>
    <p:sldId id="323" r:id="rId4"/>
    <p:sldId id="331" r:id="rId5"/>
    <p:sldId id="332" r:id="rId6"/>
    <p:sldId id="333" r:id="rId7"/>
    <p:sldId id="324" r:id="rId8"/>
    <p:sldId id="319" r:id="rId9"/>
    <p:sldId id="322" r:id="rId10"/>
    <p:sldId id="320" r:id="rId11"/>
    <p:sldId id="321" r:id="rId12"/>
    <p:sldId id="325" r:id="rId13"/>
    <p:sldId id="318" r:id="rId14"/>
    <p:sldId id="336" r:id="rId15"/>
    <p:sldId id="337" r:id="rId16"/>
    <p:sldId id="338" r:id="rId17"/>
    <p:sldId id="329" r:id="rId18"/>
  </p:sldIdLst>
  <p:sldSz cx="9144000" cy="6858000" type="screen4x3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6699FF"/>
    <a:srgbClr val="00CC99"/>
    <a:srgbClr val="000000"/>
    <a:srgbClr val="767676"/>
    <a:srgbClr val="BCBCBC"/>
    <a:srgbClr val="F21C0A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82" autoAdjust="0"/>
    <p:restoredTop sz="97851" autoAdjust="0"/>
  </p:normalViewPr>
  <p:slideViewPr>
    <p:cSldViewPr>
      <p:cViewPr>
        <p:scale>
          <a:sx n="100" d="100"/>
          <a:sy n="100" d="100"/>
        </p:scale>
        <p:origin x="-816" y="-4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8" y="48582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70" d="100"/>
          <a:sy n="70" d="100"/>
        </p:scale>
        <p:origin x="-2814" y="-102"/>
      </p:cViewPr>
      <p:guideLst>
        <p:guide orient="horz" pos="2880"/>
        <p:guide pos="2160"/>
      </p:guideLst>
    </p:cSldViewPr>
  </p:notesViewPr>
  <p:gridSpacing cx="52019200" cy="52019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06/relationships/legacyDocTextInfo" Target="legacyDocTextInfo.bin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3">
  <dgm:title val=""/>
  <dgm:desc val=""/>
  <dgm:catLst>
    <dgm:cat type="accent4" pri="11300"/>
  </dgm:catLst>
  <dgm:styleLbl name="node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shade val="80000"/>
      </a:schemeClr>
      <a:schemeClr val="accent4">
        <a:tint val="7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/>
    <dgm:txEffectClrLst/>
  </dgm:styleLbl>
  <dgm:styleLbl name="ln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9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8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8D28722-8E02-6248-8E87-AD92983BA091}" type="doc">
      <dgm:prSet loTypeId="urn:microsoft.com/office/officeart/2005/8/layout/list1" loCatId="list" qsTypeId="urn:microsoft.com/office/officeart/2005/8/quickstyle/simple4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0F77B7A4-87A4-2048-8355-3CA4D597F7D3}">
      <dgm:prSet phldrT="[Text]" custT="1"/>
      <dgm:spPr>
        <a:solidFill>
          <a:srgbClr val="6699FF"/>
        </a:solidFill>
      </dgm:spPr>
      <dgm:t>
        <a:bodyPr/>
        <a:lstStyle/>
        <a:p>
          <a:r>
            <a:rPr lang="hu-HU" sz="2400" b="1" dirty="0" smtClean="0">
              <a:solidFill>
                <a:schemeClr val="bg1"/>
              </a:solidFill>
            </a:rPr>
            <a:t>1. </a:t>
          </a:r>
          <a:r>
            <a:rPr lang="en-US" sz="2400" b="1" dirty="0" err="1" smtClean="0">
              <a:solidFill>
                <a:schemeClr val="bg1"/>
              </a:solidFill>
            </a:rPr>
            <a:t>Kognitív</a:t>
          </a:r>
          <a:r>
            <a:rPr lang="en-US" sz="2400" b="1" dirty="0" smtClean="0">
              <a:solidFill>
                <a:schemeClr val="bg1"/>
              </a:solidFill>
            </a:rPr>
            <a:t> (</a:t>
          </a:r>
          <a:r>
            <a:rPr lang="en-US" sz="2400" b="1" dirty="0" err="1" smtClean="0">
              <a:solidFill>
                <a:schemeClr val="bg1"/>
              </a:solidFill>
            </a:rPr>
            <a:t>tudás</a:t>
          </a:r>
          <a:r>
            <a:rPr lang="en-US" sz="2400" b="1" dirty="0" smtClean="0">
              <a:solidFill>
                <a:schemeClr val="bg1"/>
              </a:solidFill>
            </a:rPr>
            <a:t>)</a:t>
          </a:r>
          <a:endParaRPr lang="en-US" sz="2400" b="1" dirty="0">
            <a:solidFill>
              <a:schemeClr val="bg1"/>
            </a:solidFill>
          </a:endParaRPr>
        </a:p>
      </dgm:t>
    </dgm:pt>
    <dgm:pt modelId="{08397200-AE09-4642-95EA-D071A1103623}" type="parTrans" cxnId="{794B4A62-6569-0146-ABDD-977F39493385}">
      <dgm:prSet/>
      <dgm:spPr/>
      <dgm:t>
        <a:bodyPr/>
        <a:lstStyle/>
        <a:p>
          <a:endParaRPr lang="en-US" sz="2400"/>
        </a:p>
      </dgm:t>
    </dgm:pt>
    <dgm:pt modelId="{DF5034C6-73E3-CA48-A094-8DAFA1A56069}" type="sibTrans" cxnId="{794B4A62-6569-0146-ABDD-977F39493385}">
      <dgm:prSet/>
      <dgm:spPr/>
      <dgm:t>
        <a:bodyPr/>
        <a:lstStyle/>
        <a:p>
          <a:endParaRPr lang="en-US" sz="2400"/>
        </a:p>
      </dgm:t>
    </dgm:pt>
    <dgm:pt modelId="{5B5D96E6-26BF-3744-A4FB-43589F603520}">
      <dgm:prSet phldrT="[Text]" custT="1"/>
      <dgm:spPr>
        <a:solidFill>
          <a:srgbClr val="FFC000"/>
        </a:solidFill>
      </dgm:spPr>
      <dgm:t>
        <a:bodyPr/>
        <a:lstStyle/>
        <a:p>
          <a:r>
            <a:rPr lang="hu-HU" sz="2400" b="1" dirty="0" smtClean="0">
              <a:solidFill>
                <a:srgbClr val="333333"/>
              </a:solidFill>
            </a:rPr>
            <a:t>3. </a:t>
          </a:r>
          <a:r>
            <a:rPr lang="en-US" sz="2400" b="1" dirty="0" err="1" smtClean="0">
              <a:solidFill>
                <a:srgbClr val="333333"/>
              </a:solidFill>
            </a:rPr>
            <a:t>Pszichomotoros</a:t>
          </a:r>
          <a:r>
            <a:rPr lang="en-US" sz="2400" b="1" dirty="0" smtClean="0">
              <a:solidFill>
                <a:srgbClr val="333333"/>
              </a:solidFill>
            </a:rPr>
            <a:t> (</a:t>
          </a:r>
          <a:r>
            <a:rPr lang="en-US" sz="2400" b="1" dirty="0" err="1" smtClean="0">
              <a:solidFill>
                <a:srgbClr val="333333"/>
              </a:solidFill>
            </a:rPr>
            <a:t>fizikai</a:t>
          </a:r>
          <a:r>
            <a:rPr lang="hu-HU" sz="2400" b="1" dirty="0" smtClean="0">
              <a:solidFill>
                <a:srgbClr val="333333"/>
              </a:solidFill>
            </a:rPr>
            <a:t>, mozgás</a:t>
          </a:r>
          <a:r>
            <a:rPr lang="en-US" sz="2400" b="1" dirty="0" smtClean="0">
              <a:solidFill>
                <a:srgbClr val="333333"/>
              </a:solidFill>
            </a:rPr>
            <a:t>) </a:t>
          </a:r>
          <a:endParaRPr lang="en-US" sz="2400" b="1" dirty="0">
            <a:solidFill>
              <a:srgbClr val="333333"/>
            </a:solidFill>
          </a:endParaRPr>
        </a:p>
      </dgm:t>
    </dgm:pt>
    <dgm:pt modelId="{75FEE55A-3A97-A549-B31F-C9F1BCDD341B}" type="parTrans" cxnId="{194C27DE-3FF6-644B-BA57-C86B7449CFCF}">
      <dgm:prSet/>
      <dgm:spPr/>
      <dgm:t>
        <a:bodyPr/>
        <a:lstStyle/>
        <a:p>
          <a:endParaRPr lang="en-US" sz="2400"/>
        </a:p>
      </dgm:t>
    </dgm:pt>
    <dgm:pt modelId="{23F06192-6ECE-B449-9B5F-A4A7EDBD6470}" type="sibTrans" cxnId="{194C27DE-3FF6-644B-BA57-C86B7449CFCF}">
      <dgm:prSet/>
      <dgm:spPr/>
      <dgm:t>
        <a:bodyPr/>
        <a:lstStyle/>
        <a:p>
          <a:endParaRPr lang="en-US" sz="2400"/>
        </a:p>
      </dgm:t>
    </dgm:pt>
    <dgm:pt modelId="{77EA3853-B8A1-D147-9238-1C6A12EB0381}">
      <dgm:prSet custT="1"/>
      <dgm:spPr>
        <a:solidFill>
          <a:srgbClr val="92D050"/>
        </a:solidFill>
      </dgm:spPr>
      <dgm:t>
        <a:bodyPr/>
        <a:lstStyle/>
        <a:p>
          <a:r>
            <a:rPr lang="hu-HU" sz="2400" b="1" dirty="0" smtClean="0">
              <a:solidFill>
                <a:srgbClr val="333333"/>
              </a:solidFill>
            </a:rPr>
            <a:t>2. </a:t>
          </a:r>
          <a:r>
            <a:rPr lang="en-US" sz="2400" b="1" dirty="0" err="1" smtClean="0">
              <a:solidFill>
                <a:srgbClr val="333333"/>
              </a:solidFill>
            </a:rPr>
            <a:t>Affektív</a:t>
          </a:r>
          <a:r>
            <a:rPr lang="en-US" sz="2400" b="1" dirty="0" smtClean="0">
              <a:solidFill>
                <a:srgbClr val="333333"/>
              </a:solidFill>
            </a:rPr>
            <a:t>  (</a:t>
          </a:r>
          <a:r>
            <a:rPr lang="en-US" sz="2400" b="1" dirty="0" err="1" smtClean="0">
              <a:solidFill>
                <a:srgbClr val="333333"/>
              </a:solidFill>
            </a:rPr>
            <a:t>érzelmi</a:t>
          </a:r>
          <a:r>
            <a:rPr lang="en-US" sz="2400" b="1" dirty="0" smtClean="0">
              <a:solidFill>
                <a:srgbClr val="333333"/>
              </a:solidFill>
            </a:rPr>
            <a:t>)</a:t>
          </a:r>
          <a:endParaRPr lang="en-US" sz="2400" b="1" dirty="0">
            <a:solidFill>
              <a:srgbClr val="333333"/>
            </a:solidFill>
          </a:endParaRPr>
        </a:p>
      </dgm:t>
    </dgm:pt>
    <dgm:pt modelId="{E139D4A5-BCA6-884B-8CA1-2DD54090EC95}" type="parTrans" cxnId="{AAB674CA-2871-0A41-B8BB-07494DC8BCD4}">
      <dgm:prSet/>
      <dgm:spPr/>
      <dgm:t>
        <a:bodyPr/>
        <a:lstStyle/>
        <a:p>
          <a:endParaRPr lang="en-US" sz="2400"/>
        </a:p>
      </dgm:t>
    </dgm:pt>
    <dgm:pt modelId="{53BC6B5D-11B4-FC42-B535-B7E72E1C004C}" type="sibTrans" cxnId="{AAB674CA-2871-0A41-B8BB-07494DC8BCD4}">
      <dgm:prSet/>
      <dgm:spPr/>
      <dgm:t>
        <a:bodyPr/>
        <a:lstStyle/>
        <a:p>
          <a:endParaRPr lang="en-US" sz="2400"/>
        </a:p>
      </dgm:t>
    </dgm:pt>
    <dgm:pt modelId="{5219EF1A-D059-0042-883C-42DD6EBB1842}" type="pres">
      <dgm:prSet presAssocID="{48D28722-8E02-6248-8E87-AD92983BA091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097E5885-2B0E-564C-A5DA-525A7C4D0569}" type="pres">
      <dgm:prSet presAssocID="{0F77B7A4-87A4-2048-8355-3CA4D597F7D3}" presName="parentLin" presStyleCnt="0"/>
      <dgm:spPr/>
    </dgm:pt>
    <dgm:pt modelId="{883275EB-97FF-0E4C-8DB4-F54E052A38F8}" type="pres">
      <dgm:prSet presAssocID="{0F77B7A4-87A4-2048-8355-3CA4D597F7D3}" presName="parentLeftMargin" presStyleLbl="node1" presStyleIdx="0" presStyleCnt="3"/>
      <dgm:spPr/>
      <dgm:t>
        <a:bodyPr/>
        <a:lstStyle/>
        <a:p>
          <a:endParaRPr lang="hu-HU"/>
        </a:p>
      </dgm:t>
    </dgm:pt>
    <dgm:pt modelId="{C67CD6A2-2251-154A-AC05-9CC1D563F97F}" type="pres">
      <dgm:prSet presAssocID="{0F77B7A4-87A4-2048-8355-3CA4D597F7D3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E9161E-0051-9540-A529-02CA00B36DA3}" type="pres">
      <dgm:prSet presAssocID="{0F77B7A4-87A4-2048-8355-3CA4D597F7D3}" presName="negativeSpace" presStyleCnt="0"/>
      <dgm:spPr/>
    </dgm:pt>
    <dgm:pt modelId="{D7288017-F761-2E42-9656-F0D61A00FAF0}" type="pres">
      <dgm:prSet presAssocID="{0F77B7A4-87A4-2048-8355-3CA4D597F7D3}" presName="childText" presStyleLbl="conFgAcc1" presStyleIdx="0" presStyleCnt="3">
        <dgm:presLayoutVars>
          <dgm:bulletEnabled val="1"/>
        </dgm:presLayoutVars>
      </dgm:prSet>
      <dgm:spPr/>
    </dgm:pt>
    <dgm:pt modelId="{02276DD6-E791-C14E-8633-04C20D21BD8C}" type="pres">
      <dgm:prSet presAssocID="{DF5034C6-73E3-CA48-A094-8DAFA1A56069}" presName="spaceBetweenRectangles" presStyleCnt="0"/>
      <dgm:spPr/>
    </dgm:pt>
    <dgm:pt modelId="{880E6A7F-F78D-C44F-AAE2-4EA2136A6369}" type="pres">
      <dgm:prSet presAssocID="{77EA3853-B8A1-D147-9238-1C6A12EB0381}" presName="parentLin" presStyleCnt="0"/>
      <dgm:spPr/>
    </dgm:pt>
    <dgm:pt modelId="{40A983C2-966B-4746-9571-9B2600971294}" type="pres">
      <dgm:prSet presAssocID="{77EA3853-B8A1-D147-9238-1C6A12EB0381}" presName="parentLeftMargin" presStyleLbl="node1" presStyleIdx="0" presStyleCnt="3"/>
      <dgm:spPr/>
      <dgm:t>
        <a:bodyPr/>
        <a:lstStyle/>
        <a:p>
          <a:endParaRPr lang="hu-HU"/>
        </a:p>
      </dgm:t>
    </dgm:pt>
    <dgm:pt modelId="{3DDDAD46-BA86-8941-9116-822F370EC7CD}" type="pres">
      <dgm:prSet presAssocID="{77EA3853-B8A1-D147-9238-1C6A12EB0381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159BFEDD-2CE4-DA49-9D6B-CB975BF58F4E}" type="pres">
      <dgm:prSet presAssocID="{77EA3853-B8A1-D147-9238-1C6A12EB0381}" presName="negativeSpace" presStyleCnt="0"/>
      <dgm:spPr/>
    </dgm:pt>
    <dgm:pt modelId="{734D9C57-CF9A-E34B-8944-9F6B17FFB438}" type="pres">
      <dgm:prSet presAssocID="{77EA3853-B8A1-D147-9238-1C6A12EB0381}" presName="childText" presStyleLbl="conFgAcc1" presStyleIdx="1" presStyleCnt="3">
        <dgm:presLayoutVars>
          <dgm:bulletEnabled val="1"/>
        </dgm:presLayoutVars>
      </dgm:prSet>
      <dgm:spPr/>
    </dgm:pt>
    <dgm:pt modelId="{E91D9C00-B584-EA4B-8753-7F23EAB34B64}" type="pres">
      <dgm:prSet presAssocID="{53BC6B5D-11B4-FC42-B535-B7E72E1C004C}" presName="spaceBetweenRectangles" presStyleCnt="0"/>
      <dgm:spPr/>
    </dgm:pt>
    <dgm:pt modelId="{B6CB30FD-B66A-E547-99AC-7239E4DE3A14}" type="pres">
      <dgm:prSet presAssocID="{5B5D96E6-26BF-3744-A4FB-43589F603520}" presName="parentLin" presStyleCnt="0"/>
      <dgm:spPr/>
    </dgm:pt>
    <dgm:pt modelId="{BA31A2BE-B3B8-9049-8508-E0C55F244A26}" type="pres">
      <dgm:prSet presAssocID="{5B5D96E6-26BF-3744-A4FB-43589F603520}" presName="parentLeftMargin" presStyleLbl="node1" presStyleIdx="1" presStyleCnt="3"/>
      <dgm:spPr/>
      <dgm:t>
        <a:bodyPr/>
        <a:lstStyle/>
        <a:p>
          <a:endParaRPr lang="hu-HU"/>
        </a:p>
      </dgm:t>
    </dgm:pt>
    <dgm:pt modelId="{23590DC4-C2EC-684E-87C7-FC6E3ED8938F}" type="pres">
      <dgm:prSet presAssocID="{5B5D96E6-26BF-3744-A4FB-43589F603520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F6208F-1E93-FD41-9433-A09239DEC81C}" type="pres">
      <dgm:prSet presAssocID="{5B5D96E6-26BF-3744-A4FB-43589F603520}" presName="negativeSpace" presStyleCnt="0"/>
      <dgm:spPr/>
    </dgm:pt>
    <dgm:pt modelId="{7C395EB4-31BE-EC4B-848F-606FE91D7BC7}" type="pres">
      <dgm:prSet presAssocID="{5B5D96E6-26BF-3744-A4FB-43589F603520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A599DA47-9241-4C06-A0E2-F5BCD513C5A2}" type="presOf" srcId="{5B5D96E6-26BF-3744-A4FB-43589F603520}" destId="{BA31A2BE-B3B8-9049-8508-E0C55F244A26}" srcOrd="0" destOrd="0" presId="urn:microsoft.com/office/officeart/2005/8/layout/list1"/>
    <dgm:cxn modelId="{86917374-924B-4C59-89C1-2297BB727108}" type="presOf" srcId="{0F77B7A4-87A4-2048-8355-3CA4D597F7D3}" destId="{C67CD6A2-2251-154A-AC05-9CC1D563F97F}" srcOrd="1" destOrd="0" presId="urn:microsoft.com/office/officeart/2005/8/layout/list1"/>
    <dgm:cxn modelId="{1EEB8667-EE4E-4AC8-9D84-1477F23E4FF9}" type="presOf" srcId="{48D28722-8E02-6248-8E87-AD92983BA091}" destId="{5219EF1A-D059-0042-883C-42DD6EBB1842}" srcOrd="0" destOrd="0" presId="urn:microsoft.com/office/officeart/2005/8/layout/list1"/>
    <dgm:cxn modelId="{B4291335-264A-4B3D-B3D7-3FF0B1CAF3AC}" type="presOf" srcId="{77EA3853-B8A1-D147-9238-1C6A12EB0381}" destId="{40A983C2-966B-4746-9571-9B2600971294}" srcOrd="0" destOrd="0" presId="urn:microsoft.com/office/officeart/2005/8/layout/list1"/>
    <dgm:cxn modelId="{794B4A62-6569-0146-ABDD-977F39493385}" srcId="{48D28722-8E02-6248-8E87-AD92983BA091}" destId="{0F77B7A4-87A4-2048-8355-3CA4D597F7D3}" srcOrd="0" destOrd="0" parTransId="{08397200-AE09-4642-95EA-D071A1103623}" sibTransId="{DF5034C6-73E3-CA48-A094-8DAFA1A56069}"/>
    <dgm:cxn modelId="{898C521D-8181-42D8-A0C3-9905E84EC1BA}" type="presOf" srcId="{0F77B7A4-87A4-2048-8355-3CA4D597F7D3}" destId="{883275EB-97FF-0E4C-8DB4-F54E052A38F8}" srcOrd="0" destOrd="0" presId="urn:microsoft.com/office/officeart/2005/8/layout/list1"/>
    <dgm:cxn modelId="{AAB674CA-2871-0A41-B8BB-07494DC8BCD4}" srcId="{48D28722-8E02-6248-8E87-AD92983BA091}" destId="{77EA3853-B8A1-D147-9238-1C6A12EB0381}" srcOrd="1" destOrd="0" parTransId="{E139D4A5-BCA6-884B-8CA1-2DD54090EC95}" sibTransId="{53BC6B5D-11B4-FC42-B535-B7E72E1C004C}"/>
    <dgm:cxn modelId="{194C27DE-3FF6-644B-BA57-C86B7449CFCF}" srcId="{48D28722-8E02-6248-8E87-AD92983BA091}" destId="{5B5D96E6-26BF-3744-A4FB-43589F603520}" srcOrd="2" destOrd="0" parTransId="{75FEE55A-3A97-A549-B31F-C9F1BCDD341B}" sibTransId="{23F06192-6ECE-B449-9B5F-A4A7EDBD6470}"/>
    <dgm:cxn modelId="{48ABE81A-8640-4415-853F-E4EA785F2A98}" type="presOf" srcId="{77EA3853-B8A1-D147-9238-1C6A12EB0381}" destId="{3DDDAD46-BA86-8941-9116-822F370EC7CD}" srcOrd="1" destOrd="0" presId="urn:microsoft.com/office/officeart/2005/8/layout/list1"/>
    <dgm:cxn modelId="{057C609F-96B2-4532-90DB-AC08408C89C3}" type="presOf" srcId="{5B5D96E6-26BF-3744-A4FB-43589F603520}" destId="{23590DC4-C2EC-684E-87C7-FC6E3ED8938F}" srcOrd="1" destOrd="0" presId="urn:microsoft.com/office/officeart/2005/8/layout/list1"/>
    <dgm:cxn modelId="{5E606CB3-4EA8-4F01-81E2-16F9FA076152}" type="presParOf" srcId="{5219EF1A-D059-0042-883C-42DD6EBB1842}" destId="{097E5885-2B0E-564C-A5DA-525A7C4D0569}" srcOrd="0" destOrd="0" presId="urn:microsoft.com/office/officeart/2005/8/layout/list1"/>
    <dgm:cxn modelId="{B6DC6359-6F7B-48EF-8BAF-1B7E66DC6E5A}" type="presParOf" srcId="{097E5885-2B0E-564C-A5DA-525A7C4D0569}" destId="{883275EB-97FF-0E4C-8DB4-F54E052A38F8}" srcOrd="0" destOrd="0" presId="urn:microsoft.com/office/officeart/2005/8/layout/list1"/>
    <dgm:cxn modelId="{A0813F7C-CA26-4CB2-81D3-4BCBEF593826}" type="presParOf" srcId="{097E5885-2B0E-564C-A5DA-525A7C4D0569}" destId="{C67CD6A2-2251-154A-AC05-9CC1D563F97F}" srcOrd="1" destOrd="0" presId="urn:microsoft.com/office/officeart/2005/8/layout/list1"/>
    <dgm:cxn modelId="{7CFD90E0-6680-4703-8B17-443259E0CDF0}" type="presParOf" srcId="{5219EF1A-D059-0042-883C-42DD6EBB1842}" destId="{04E9161E-0051-9540-A529-02CA00B36DA3}" srcOrd="1" destOrd="0" presId="urn:microsoft.com/office/officeart/2005/8/layout/list1"/>
    <dgm:cxn modelId="{651CCE79-AD08-450C-8D85-1BE05AD90735}" type="presParOf" srcId="{5219EF1A-D059-0042-883C-42DD6EBB1842}" destId="{D7288017-F761-2E42-9656-F0D61A00FAF0}" srcOrd="2" destOrd="0" presId="urn:microsoft.com/office/officeart/2005/8/layout/list1"/>
    <dgm:cxn modelId="{7646804D-A11F-4B05-819C-A506E8A076A8}" type="presParOf" srcId="{5219EF1A-D059-0042-883C-42DD6EBB1842}" destId="{02276DD6-E791-C14E-8633-04C20D21BD8C}" srcOrd="3" destOrd="0" presId="urn:microsoft.com/office/officeart/2005/8/layout/list1"/>
    <dgm:cxn modelId="{E2A71109-4370-4F22-99A9-6F9C3F3632D5}" type="presParOf" srcId="{5219EF1A-D059-0042-883C-42DD6EBB1842}" destId="{880E6A7F-F78D-C44F-AAE2-4EA2136A6369}" srcOrd="4" destOrd="0" presId="urn:microsoft.com/office/officeart/2005/8/layout/list1"/>
    <dgm:cxn modelId="{2ADC4A45-20BC-4D6E-9F3C-30DD119B5E3D}" type="presParOf" srcId="{880E6A7F-F78D-C44F-AAE2-4EA2136A6369}" destId="{40A983C2-966B-4746-9571-9B2600971294}" srcOrd="0" destOrd="0" presId="urn:microsoft.com/office/officeart/2005/8/layout/list1"/>
    <dgm:cxn modelId="{FDEFC354-C9A9-434C-A839-B8AEEE46CB3A}" type="presParOf" srcId="{880E6A7F-F78D-C44F-AAE2-4EA2136A6369}" destId="{3DDDAD46-BA86-8941-9116-822F370EC7CD}" srcOrd="1" destOrd="0" presId="urn:microsoft.com/office/officeart/2005/8/layout/list1"/>
    <dgm:cxn modelId="{6BC9BAC6-7857-42C3-B2E7-99DF5C3B3855}" type="presParOf" srcId="{5219EF1A-D059-0042-883C-42DD6EBB1842}" destId="{159BFEDD-2CE4-DA49-9D6B-CB975BF58F4E}" srcOrd="5" destOrd="0" presId="urn:microsoft.com/office/officeart/2005/8/layout/list1"/>
    <dgm:cxn modelId="{410890B6-5C31-4ABC-B88E-1B5301A76312}" type="presParOf" srcId="{5219EF1A-D059-0042-883C-42DD6EBB1842}" destId="{734D9C57-CF9A-E34B-8944-9F6B17FFB438}" srcOrd="6" destOrd="0" presId="urn:microsoft.com/office/officeart/2005/8/layout/list1"/>
    <dgm:cxn modelId="{1C08FFF7-8F5C-4313-ADBF-79DC4BC6453F}" type="presParOf" srcId="{5219EF1A-D059-0042-883C-42DD6EBB1842}" destId="{E91D9C00-B584-EA4B-8753-7F23EAB34B64}" srcOrd="7" destOrd="0" presId="urn:microsoft.com/office/officeart/2005/8/layout/list1"/>
    <dgm:cxn modelId="{C7364E52-5694-4B6C-9157-E21E52AA96EB}" type="presParOf" srcId="{5219EF1A-D059-0042-883C-42DD6EBB1842}" destId="{B6CB30FD-B66A-E547-99AC-7239E4DE3A14}" srcOrd="8" destOrd="0" presId="urn:microsoft.com/office/officeart/2005/8/layout/list1"/>
    <dgm:cxn modelId="{B4554CDB-FFA6-4C2A-9BAA-4600CF56CDCC}" type="presParOf" srcId="{B6CB30FD-B66A-E547-99AC-7239E4DE3A14}" destId="{BA31A2BE-B3B8-9049-8508-E0C55F244A26}" srcOrd="0" destOrd="0" presId="urn:microsoft.com/office/officeart/2005/8/layout/list1"/>
    <dgm:cxn modelId="{A36F02EF-9821-493F-A570-565B9BA073AC}" type="presParOf" srcId="{B6CB30FD-B66A-E547-99AC-7239E4DE3A14}" destId="{23590DC4-C2EC-684E-87C7-FC6E3ED8938F}" srcOrd="1" destOrd="0" presId="urn:microsoft.com/office/officeart/2005/8/layout/list1"/>
    <dgm:cxn modelId="{21F7BA3A-BBAA-429E-878A-B15A35EF666B}" type="presParOf" srcId="{5219EF1A-D059-0042-883C-42DD6EBB1842}" destId="{8AF6208F-1E93-FD41-9433-A09239DEC81C}" srcOrd="9" destOrd="0" presId="urn:microsoft.com/office/officeart/2005/8/layout/list1"/>
    <dgm:cxn modelId="{5FA92786-5D8F-4B75-861F-15124FDD0E0C}" type="presParOf" srcId="{5219EF1A-D059-0042-883C-42DD6EBB1842}" destId="{7C395EB4-31BE-EC4B-848F-606FE91D7BC7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8D28722-8E02-6248-8E87-AD92983BA091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B5D96E6-26BF-3744-A4FB-43589F603520}">
      <dgm:prSet phldrT="[Text]" custT="1"/>
      <dgm:spPr>
        <a:solidFill>
          <a:srgbClr val="FFC000"/>
        </a:solidFill>
      </dgm:spPr>
      <dgm:t>
        <a:bodyPr/>
        <a:lstStyle/>
        <a:p>
          <a:r>
            <a:rPr lang="hu-HU" sz="2400" dirty="0" smtClean="0">
              <a:solidFill>
                <a:srgbClr val="333333"/>
              </a:solidFill>
            </a:rPr>
            <a:t>Az eredeti modellben n</a:t>
          </a:r>
          <a:r>
            <a:rPr lang="en-US" sz="2400" dirty="0" err="1" smtClean="0">
              <a:solidFill>
                <a:srgbClr val="333333"/>
              </a:solidFill>
            </a:rPr>
            <a:t>incsenek</a:t>
          </a:r>
          <a:r>
            <a:rPr lang="en-US" sz="2400" dirty="0" smtClean="0">
              <a:solidFill>
                <a:srgbClr val="333333"/>
              </a:solidFill>
            </a:rPr>
            <a:t> </a:t>
          </a:r>
          <a:r>
            <a:rPr lang="en-US" sz="2400" dirty="0" err="1" smtClean="0">
              <a:solidFill>
                <a:srgbClr val="333333"/>
              </a:solidFill>
            </a:rPr>
            <a:t>alkategóriák</a:t>
          </a:r>
          <a:r>
            <a:rPr lang="hu-HU" sz="2400" dirty="0" smtClean="0">
              <a:solidFill>
                <a:srgbClr val="333333"/>
              </a:solidFill>
            </a:rPr>
            <a:t>!</a:t>
          </a:r>
          <a:r>
            <a:rPr lang="en-US" sz="2400" dirty="0" smtClean="0">
              <a:solidFill>
                <a:srgbClr val="333333"/>
              </a:solidFill>
            </a:rPr>
            <a:t> </a:t>
          </a:r>
          <a:endParaRPr lang="en-US" sz="2400" dirty="0">
            <a:solidFill>
              <a:srgbClr val="333333"/>
            </a:solidFill>
          </a:endParaRPr>
        </a:p>
      </dgm:t>
    </dgm:pt>
    <dgm:pt modelId="{75FEE55A-3A97-A549-B31F-C9F1BCDD341B}" type="parTrans" cxnId="{194C27DE-3FF6-644B-BA57-C86B7449CFCF}">
      <dgm:prSet/>
      <dgm:spPr/>
      <dgm:t>
        <a:bodyPr/>
        <a:lstStyle/>
        <a:p>
          <a:endParaRPr lang="en-US"/>
        </a:p>
      </dgm:t>
    </dgm:pt>
    <dgm:pt modelId="{23F06192-6ECE-B449-9B5F-A4A7EDBD6470}" type="sibTrans" cxnId="{194C27DE-3FF6-644B-BA57-C86B7449CFCF}">
      <dgm:prSet/>
      <dgm:spPr/>
      <dgm:t>
        <a:bodyPr/>
        <a:lstStyle/>
        <a:p>
          <a:endParaRPr lang="en-US"/>
        </a:p>
      </dgm:t>
    </dgm:pt>
    <dgm:pt modelId="{5219EF1A-D059-0042-883C-42DD6EBB1842}" type="pres">
      <dgm:prSet presAssocID="{48D28722-8E02-6248-8E87-AD92983BA091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B6CB30FD-B66A-E547-99AC-7239E4DE3A14}" type="pres">
      <dgm:prSet presAssocID="{5B5D96E6-26BF-3744-A4FB-43589F603520}" presName="parentLin" presStyleCnt="0"/>
      <dgm:spPr/>
    </dgm:pt>
    <dgm:pt modelId="{BA31A2BE-B3B8-9049-8508-E0C55F244A26}" type="pres">
      <dgm:prSet presAssocID="{5B5D96E6-26BF-3744-A4FB-43589F603520}" presName="parentLeftMargin" presStyleLbl="node1" presStyleIdx="0" presStyleCnt="1"/>
      <dgm:spPr/>
      <dgm:t>
        <a:bodyPr/>
        <a:lstStyle/>
        <a:p>
          <a:endParaRPr lang="hu-HU"/>
        </a:p>
      </dgm:t>
    </dgm:pt>
    <dgm:pt modelId="{23590DC4-C2EC-684E-87C7-FC6E3ED8938F}" type="pres">
      <dgm:prSet presAssocID="{5B5D96E6-26BF-3744-A4FB-43589F603520}" presName="parentText" presStyleLbl="node1" presStyleIdx="0" presStyleCnt="1" custScaleX="92450" custScaleY="56575" custLinFactNeighborX="-4670" custLinFactNeighborY="-3921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F6208F-1E93-FD41-9433-A09239DEC81C}" type="pres">
      <dgm:prSet presAssocID="{5B5D96E6-26BF-3744-A4FB-43589F603520}" presName="negativeSpace" presStyleCnt="0"/>
      <dgm:spPr/>
    </dgm:pt>
    <dgm:pt modelId="{7C395EB4-31BE-EC4B-848F-606FE91D7BC7}" type="pres">
      <dgm:prSet presAssocID="{5B5D96E6-26BF-3744-A4FB-43589F603520}" presName="childText" presStyleLbl="conFgAcc1" presStyleIdx="0" presStyleCnt="1" custLinFactY="-12653" custLinFactNeighborX="-4766" custLinFactNeighborY="-100000">
        <dgm:presLayoutVars>
          <dgm:bulletEnabled val="1"/>
        </dgm:presLayoutVars>
      </dgm:prSet>
      <dgm:spPr/>
    </dgm:pt>
  </dgm:ptLst>
  <dgm:cxnLst>
    <dgm:cxn modelId="{049A4BDD-44F3-4257-954E-BA1D994CEF94}" type="presOf" srcId="{48D28722-8E02-6248-8E87-AD92983BA091}" destId="{5219EF1A-D059-0042-883C-42DD6EBB1842}" srcOrd="0" destOrd="0" presId="urn:microsoft.com/office/officeart/2005/8/layout/list1"/>
    <dgm:cxn modelId="{ED33D6C1-D15B-4B77-8B61-08430A9D8A20}" type="presOf" srcId="{5B5D96E6-26BF-3744-A4FB-43589F603520}" destId="{BA31A2BE-B3B8-9049-8508-E0C55F244A26}" srcOrd="0" destOrd="0" presId="urn:microsoft.com/office/officeart/2005/8/layout/list1"/>
    <dgm:cxn modelId="{A10943BE-0AE3-4260-BFB5-6558DC6F28F8}" type="presOf" srcId="{5B5D96E6-26BF-3744-A4FB-43589F603520}" destId="{23590DC4-C2EC-684E-87C7-FC6E3ED8938F}" srcOrd="1" destOrd="0" presId="urn:microsoft.com/office/officeart/2005/8/layout/list1"/>
    <dgm:cxn modelId="{194C27DE-3FF6-644B-BA57-C86B7449CFCF}" srcId="{48D28722-8E02-6248-8E87-AD92983BA091}" destId="{5B5D96E6-26BF-3744-A4FB-43589F603520}" srcOrd="0" destOrd="0" parTransId="{75FEE55A-3A97-A549-B31F-C9F1BCDD341B}" sibTransId="{23F06192-6ECE-B449-9B5F-A4A7EDBD6470}"/>
    <dgm:cxn modelId="{1CBE5015-7349-443E-9827-F93A85F5A275}" type="presParOf" srcId="{5219EF1A-D059-0042-883C-42DD6EBB1842}" destId="{B6CB30FD-B66A-E547-99AC-7239E4DE3A14}" srcOrd="0" destOrd="0" presId="urn:microsoft.com/office/officeart/2005/8/layout/list1"/>
    <dgm:cxn modelId="{33421604-62E5-48BD-AD9F-E7FB96252805}" type="presParOf" srcId="{B6CB30FD-B66A-E547-99AC-7239E4DE3A14}" destId="{BA31A2BE-B3B8-9049-8508-E0C55F244A26}" srcOrd="0" destOrd="0" presId="urn:microsoft.com/office/officeart/2005/8/layout/list1"/>
    <dgm:cxn modelId="{5EB626D3-6BFA-402C-A3A5-C36FADB3D107}" type="presParOf" srcId="{B6CB30FD-B66A-E547-99AC-7239E4DE3A14}" destId="{23590DC4-C2EC-684E-87C7-FC6E3ED8938F}" srcOrd="1" destOrd="0" presId="urn:microsoft.com/office/officeart/2005/8/layout/list1"/>
    <dgm:cxn modelId="{538821E9-BDEC-475D-95CB-C33A75371641}" type="presParOf" srcId="{5219EF1A-D059-0042-883C-42DD6EBB1842}" destId="{8AF6208F-1E93-FD41-9433-A09239DEC81C}" srcOrd="1" destOrd="0" presId="urn:microsoft.com/office/officeart/2005/8/layout/list1"/>
    <dgm:cxn modelId="{7D4B7D79-CA5B-49B4-A6AC-7A44DEA8FCB1}" type="presParOf" srcId="{5219EF1A-D059-0042-883C-42DD6EBB1842}" destId="{7C395EB4-31BE-EC4B-848F-606FE91D7BC7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8D28722-8E02-6248-8E87-AD92983BA091}" type="doc">
      <dgm:prSet loTypeId="urn:microsoft.com/office/officeart/2005/8/layout/list1" loCatId="list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ADEEFC0-7B8E-3944-B2DF-F681632470D8}">
      <dgm:prSet phldrT="[Text]" custT="1"/>
      <dgm:spPr>
        <a:solidFill>
          <a:srgbClr val="6699FF"/>
        </a:solidFill>
      </dgm:spPr>
      <dgm:t>
        <a:bodyPr/>
        <a:lstStyle/>
        <a:p>
          <a:r>
            <a:rPr lang="hu-HU" sz="2400" dirty="0" smtClean="0"/>
            <a:t>6. </a:t>
          </a:r>
          <a:r>
            <a:rPr lang="en-US" sz="2400" dirty="0" err="1" smtClean="0"/>
            <a:t>Értékelés</a:t>
          </a:r>
          <a:endParaRPr lang="en-US" sz="2400" dirty="0"/>
        </a:p>
      </dgm:t>
    </dgm:pt>
    <dgm:pt modelId="{F300731F-7520-AF45-84D5-16760D5A928E}" type="parTrans" cxnId="{F30BA63C-F889-4746-97CD-0456CC3CCA1F}">
      <dgm:prSet/>
      <dgm:spPr/>
      <dgm:t>
        <a:bodyPr/>
        <a:lstStyle/>
        <a:p>
          <a:endParaRPr lang="en-US" sz="2400"/>
        </a:p>
      </dgm:t>
    </dgm:pt>
    <dgm:pt modelId="{2F018E97-5795-D941-B809-4EDC8C5ED252}" type="sibTrans" cxnId="{F30BA63C-F889-4746-97CD-0456CC3CCA1F}">
      <dgm:prSet/>
      <dgm:spPr/>
      <dgm:t>
        <a:bodyPr/>
        <a:lstStyle/>
        <a:p>
          <a:endParaRPr lang="en-US" sz="2400"/>
        </a:p>
      </dgm:t>
    </dgm:pt>
    <dgm:pt modelId="{0F77B7A4-87A4-2048-8355-3CA4D597F7D3}">
      <dgm:prSet phldrT="[Text]" custT="1"/>
      <dgm:spPr>
        <a:solidFill>
          <a:srgbClr val="6699FF"/>
        </a:solidFill>
      </dgm:spPr>
      <dgm:t>
        <a:bodyPr/>
        <a:lstStyle/>
        <a:p>
          <a:r>
            <a:rPr lang="hu-HU" sz="2400" dirty="0" smtClean="0"/>
            <a:t>2. </a:t>
          </a:r>
          <a:r>
            <a:rPr lang="en-US" sz="2400" dirty="0" err="1" smtClean="0"/>
            <a:t>Megértés</a:t>
          </a:r>
          <a:endParaRPr lang="en-US" sz="2400" dirty="0"/>
        </a:p>
      </dgm:t>
    </dgm:pt>
    <dgm:pt modelId="{08397200-AE09-4642-95EA-D071A1103623}" type="parTrans" cxnId="{794B4A62-6569-0146-ABDD-977F39493385}">
      <dgm:prSet/>
      <dgm:spPr/>
      <dgm:t>
        <a:bodyPr/>
        <a:lstStyle/>
        <a:p>
          <a:endParaRPr lang="en-US" sz="2400"/>
        </a:p>
      </dgm:t>
    </dgm:pt>
    <dgm:pt modelId="{DF5034C6-73E3-CA48-A094-8DAFA1A56069}" type="sibTrans" cxnId="{794B4A62-6569-0146-ABDD-977F39493385}">
      <dgm:prSet/>
      <dgm:spPr/>
      <dgm:t>
        <a:bodyPr/>
        <a:lstStyle/>
        <a:p>
          <a:endParaRPr lang="en-US" sz="2400"/>
        </a:p>
      </dgm:t>
    </dgm:pt>
    <dgm:pt modelId="{3804DC4B-6710-ED45-A030-599BE4B0D0FC}">
      <dgm:prSet phldrT="[Text]" custT="1"/>
      <dgm:spPr>
        <a:solidFill>
          <a:srgbClr val="6699FF"/>
        </a:solidFill>
      </dgm:spPr>
      <dgm:t>
        <a:bodyPr/>
        <a:lstStyle/>
        <a:p>
          <a:r>
            <a:rPr lang="hu-HU" sz="2400" dirty="0" smtClean="0"/>
            <a:t>4. </a:t>
          </a:r>
          <a:r>
            <a:rPr lang="en-US" sz="2400" dirty="0" err="1" smtClean="0"/>
            <a:t>Elemzés</a:t>
          </a:r>
          <a:endParaRPr lang="en-US" sz="2400" dirty="0"/>
        </a:p>
      </dgm:t>
    </dgm:pt>
    <dgm:pt modelId="{13EC54C1-1EE5-B847-8393-E2C230DB1DC1}" type="sibTrans" cxnId="{1DB6A5A5-AB81-054B-AA81-564854E1E5D0}">
      <dgm:prSet/>
      <dgm:spPr/>
      <dgm:t>
        <a:bodyPr/>
        <a:lstStyle/>
        <a:p>
          <a:endParaRPr lang="en-US" sz="2400"/>
        </a:p>
      </dgm:t>
    </dgm:pt>
    <dgm:pt modelId="{30A22FCB-E05B-204E-9F33-C64147DC0B27}" type="parTrans" cxnId="{1DB6A5A5-AB81-054B-AA81-564854E1E5D0}">
      <dgm:prSet/>
      <dgm:spPr/>
      <dgm:t>
        <a:bodyPr/>
        <a:lstStyle/>
        <a:p>
          <a:endParaRPr lang="en-US" sz="2400"/>
        </a:p>
      </dgm:t>
    </dgm:pt>
    <dgm:pt modelId="{5B5D96E6-26BF-3744-A4FB-43589F603520}">
      <dgm:prSet phldrT="[Text]" custT="1"/>
      <dgm:spPr>
        <a:solidFill>
          <a:srgbClr val="6699FF"/>
        </a:solidFill>
      </dgm:spPr>
      <dgm:t>
        <a:bodyPr/>
        <a:lstStyle/>
        <a:p>
          <a:r>
            <a:rPr lang="hu-HU" sz="2400" dirty="0" smtClean="0"/>
            <a:t>1. </a:t>
          </a:r>
          <a:r>
            <a:rPr lang="en-US" sz="2400" dirty="0" err="1" smtClean="0"/>
            <a:t>Tudás</a:t>
          </a:r>
          <a:r>
            <a:rPr lang="en-US" sz="2400" dirty="0" smtClean="0"/>
            <a:t> (</a:t>
          </a:r>
          <a:r>
            <a:rPr lang="en-US" sz="2400" dirty="0" err="1" smtClean="0"/>
            <a:t>megismerés</a:t>
          </a:r>
          <a:r>
            <a:rPr lang="en-US" sz="2400" dirty="0" smtClean="0"/>
            <a:t>)</a:t>
          </a:r>
          <a:endParaRPr lang="en-US" sz="2400" dirty="0"/>
        </a:p>
      </dgm:t>
    </dgm:pt>
    <dgm:pt modelId="{75FEE55A-3A97-A549-B31F-C9F1BCDD341B}" type="parTrans" cxnId="{194C27DE-3FF6-644B-BA57-C86B7449CFCF}">
      <dgm:prSet/>
      <dgm:spPr/>
      <dgm:t>
        <a:bodyPr/>
        <a:lstStyle/>
        <a:p>
          <a:endParaRPr lang="en-US" sz="2400"/>
        </a:p>
      </dgm:t>
    </dgm:pt>
    <dgm:pt modelId="{23F06192-6ECE-B449-9B5F-A4A7EDBD6470}" type="sibTrans" cxnId="{194C27DE-3FF6-644B-BA57-C86B7449CFCF}">
      <dgm:prSet/>
      <dgm:spPr/>
      <dgm:t>
        <a:bodyPr/>
        <a:lstStyle/>
        <a:p>
          <a:endParaRPr lang="en-US" sz="2400"/>
        </a:p>
      </dgm:t>
    </dgm:pt>
    <dgm:pt modelId="{4A13D432-2972-5343-9C6A-A676F19CC563}">
      <dgm:prSet phldrT="[Text]" custT="1"/>
      <dgm:spPr>
        <a:solidFill>
          <a:srgbClr val="6699FF"/>
        </a:solidFill>
      </dgm:spPr>
      <dgm:t>
        <a:bodyPr/>
        <a:lstStyle/>
        <a:p>
          <a:r>
            <a:rPr lang="hu-HU" sz="2400" dirty="0" smtClean="0"/>
            <a:t>3. </a:t>
          </a:r>
          <a:r>
            <a:rPr lang="en-US" sz="2400" dirty="0" err="1" smtClean="0"/>
            <a:t>Alkalmazás</a:t>
          </a:r>
          <a:endParaRPr lang="en-US" sz="2400" dirty="0"/>
        </a:p>
      </dgm:t>
    </dgm:pt>
    <dgm:pt modelId="{B47A0E29-BC80-724F-AE87-5EF78DACC046}" type="parTrans" cxnId="{6867889D-9392-8640-8C0A-D5571D022BF4}">
      <dgm:prSet/>
      <dgm:spPr/>
      <dgm:t>
        <a:bodyPr/>
        <a:lstStyle/>
        <a:p>
          <a:endParaRPr lang="en-US" sz="2400"/>
        </a:p>
      </dgm:t>
    </dgm:pt>
    <dgm:pt modelId="{B89C99F3-A78A-7B41-BE65-5E9FFC3A158B}" type="sibTrans" cxnId="{6867889D-9392-8640-8C0A-D5571D022BF4}">
      <dgm:prSet/>
      <dgm:spPr/>
      <dgm:t>
        <a:bodyPr/>
        <a:lstStyle/>
        <a:p>
          <a:endParaRPr lang="en-US" sz="2400"/>
        </a:p>
      </dgm:t>
    </dgm:pt>
    <dgm:pt modelId="{0EDCE75C-CF4F-E146-AF26-F610E5E741C7}">
      <dgm:prSet phldrT="[Text]" custT="1"/>
      <dgm:spPr>
        <a:solidFill>
          <a:srgbClr val="6699FF"/>
        </a:solidFill>
      </dgm:spPr>
      <dgm:t>
        <a:bodyPr/>
        <a:lstStyle/>
        <a:p>
          <a:r>
            <a:rPr lang="hu-HU" sz="2400" dirty="0" smtClean="0"/>
            <a:t>5. </a:t>
          </a:r>
          <a:r>
            <a:rPr lang="en-US" sz="2400" dirty="0" err="1" smtClean="0"/>
            <a:t>Szintézis</a:t>
          </a:r>
          <a:endParaRPr lang="en-US" sz="2400" dirty="0"/>
        </a:p>
      </dgm:t>
    </dgm:pt>
    <dgm:pt modelId="{1E0DE288-F5E5-FF42-89B4-06DC53E4DC54}" type="parTrans" cxnId="{4745CF7E-4C04-9042-B67A-A15DDD436399}">
      <dgm:prSet/>
      <dgm:spPr/>
      <dgm:t>
        <a:bodyPr/>
        <a:lstStyle/>
        <a:p>
          <a:endParaRPr lang="en-US" sz="2400"/>
        </a:p>
      </dgm:t>
    </dgm:pt>
    <dgm:pt modelId="{17187CD2-A772-3846-B628-72D6688E9B67}" type="sibTrans" cxnId="{4745CF7E-4C04-9042-B67A-A15DDD436399}">
      <dgm:prSet/>
      <dgm:spPr/>
      <dgm:t>
        <a:bodyPr/>
        <a:lstStyle/>
        <a:p>
          <a:endParaRPr lang="en-US" sz="2400"/>
        </a:p>
      </dgm:t>
    </dgm:pt>
    <dgm:pt modelId="{5219EF1A-D059-0042-883C-42DD6EBB1842}" type="pres">
      <dgm:prSet presAssocID="{48D28722-8E02-6248-8E87-AD92983BA091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0965BF76-DE05-054D-8528-93696337F919}" type="pres">
      <dgm:prSet presAssocID="{AADEEFC0-7B8E-3944-B2DF-F681632470D8}" presName="parentLin" presStyleCnt="0"/>
      <dgm:spPr/>
    </dgm:pt>
    <dgm:pt modelId="{A1E845E0-3383-DB47-B56D-3D07A6DF44EA}" type="pres">
      <dgm:prSet presAssocID="{AADEEFC0-7B8E-3944-B2DF-F681632470D8}" presName="parentLeftMargin" presStyleLbl="node1" presStyleIdx="0" presStyleCnt="6"/>
      <dgm:spPr/>
      <dgm:t>
        <a:bodyPr/>
        <a:lstStyle/>
        <a:p>
          <a:endParaRPr lang="hu-HU"/>
        </a:p>
      </dgm:t>
    </dgm:pt>
    <dgm:pt modelId="{39B4B799-55CF-A345-A390-77B5161735EB}" type="pres">
      <dgm:prSet presAssocID="{AADEEFC0-7B8E-3944-B2DF-F681632470D8}" presName="parentText" presStyleLbl="node1" presStyleIdx="0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74F4F2-01C0-CD46-BA94-7FFBCE6BF824}" type="pres">
      <dgm:prSet presAssocID="{AADEEFC0-7B8E-3944-B2DF-F681632470D8}" presName="negativeSpace" presStyleCnt="0"/>
      <dgm:spPr/>
    </dgm:pt>
    <dgm:pt modelId="{E847ACF3-6ACF-0447-8E8D-6B6F6ABB6E64}" type="pres">
      <dgm:prSet presAssocID="{AADEEFC0-7B8E-3944-B2DF-F681632470D8}" presName="childText" presStyleLbl="conFgAcc1" presStyleIdx="0" presStyleCnt="6">
        <dgm:presLayoutVars>
          <dgm:bulletEnabled val="1"/>
        </dgm:presLayoutVars>
      </dgm:prSet>
      <dgm:spPr>
        <a:ln>
          <a:solidFill>
            <a:srgbClr val="0070C0"/>
          </a:solidFill>
        </a:ln>
      </dgm:spPr>
      <dgm:t>
        <a:bodyPr/>
        <a:lstStyle/>
        <a:p>
          <a:endParaRPr lang="hu-HU"/>
        </a:p>
      </dgm:t>
    </dgm:pt>
    <dgm:pt modelId="{42A5B17B-7F37-E94B-9A74-18C333743E40}" type="pres">
      <dgm:prSet presAssocID="{2F018E97-5795-D941-B809-4EDC8C5ED252}" presName="spaceBetweenRectangles" presStyleCnt="0"/>
      <dgm:spPr/>
    </dgm:pt>
    <dgm:pt modelId="{25CF159B-B472-2D4B-9BA9-884953EDF378}" type="pres">
      <dgm:prSet presAssocID="{0EDCE75C-CF4F-E146-AF26-F610E5E741C7}" presName="parentLin" presStyleCnt="0"/>
      <dgm:spPr/>
    </dgm:pt>
    <dgm:pt modelId="{CBD155A0-9B18-3E46-8A5B-43B5B978C8DD}" type="pres">
      <dgm:prSet presAssocID="{0EDCE75C-CF4F-E146-AF26-F610E5E741C7}" presName="parentLeftMargin" presStyleLbl="node1" presStyleIdx="0" presStyleCnt="6"/>
      <dgm:spPr/>
      <dgm:t>
        <a:bodyPr/>
        <a:lstStyle/>
        <a:p>
          <a:endParaRPr lang="hu-HU"/>
        </a:p>
      </dgm:t>
    </dgm:pt>
    <dgm:pt modelId="{DD1BFDDA-895E-AD45-BE26-FD28A45EFFD3}" type="pres">
      <dgm:prSet presAssocID="{0EDCE75C-CF4F-E146-AF26-F610E5E741C7}" presName="parentText" presStyleLbl="node1" presStyleIdx="1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1462A40E-1E33-C44F-9B71-4FB7C79FA350}" type="pres">
      <dgm:prSet presAssocID="{0EDCE75C-CF4F-E146-AF26-F610E5E741C7}" presName="negativeSpace" presStyleCnt="0"/>
      <dgm:spPr/>
    </dgm:pt>
    <dgm:pt modelId="{1A0801EC-59F7-FE4E-AC05-EDF3A61FF079}" type="pres">
      <dgm:prSet presAssocID="{0EDCE75C-CF4F-E146-AF26-F610E5E741C7}" presName="childText" presStyleLbl="conFgAcc1" presStyleIdx="1" presStyleCnt="6">
        <dgm:presLayoutVars>
          <dgm:bulletEnabled val="1"/>
        </dgm:presLayoutVars>
      </dgm:prSet>
      <dgm:spPr>
        <a:ln>
          <a:solidFill>
            <a:srgbClr val="0070C0"/>
          </a:solidFill>
        </a:ln>
      </dgm:spPr>
      <dgm:t>
        <a:bodyPr/>
        <a:lstStyle/>
        <a:p>
          <a:endParaRPr lang="hu-HU"/>
        </a:p>
      </dgm:t>
    </dgm:pt>
    <dgm:pt modelId="{829BC4CB-7541-6946-9ED7-21C7CAE58306}" type="pres">
      <dgm:prSet presAssocID="{17187CD2-A772-3846-B628-72D6688E9B67}" presName="spaceBetweenRectangles" presStyleCnt="0"/>
      <dgm:spPr/>
    </dgm:pt>
    <dgm:pt modelId="{6CDB415B-4566-EA40-B82C-4FF346425A04}" type="pres">
      <dgm:prSet presAssocID="{3804DC4B-6710-ED45-A030-599BE4B0D0FC}" presName="parentLin" presStyleCnt="0"/>
      <dgm:spPr/>
    </dgm:pt>
    <dgm:pt modelId="{7E142488-A532-9B49-B46C-13179CDEFE69}" type="pres">
      <dgm:prSet presAssocID="{3804DC4B-6710-ED45-A030-599BE4B0D0FC}" presName="parentLeftMargin" presStyleLbl="node1" presStyleIdx="1" presStyleCnt="6"/>
      <dgm:spPr/>
      <dgm:t>
        <a:bodyPr/>
        <a:lstStyle/>
        <a:p>
          <a:endParaRPr lang="hu-HU"/>
        </a:p>
      </dgm:t>
    </dgm:pt>
    <dgm:pt modelId="{CF9B06CD-78A1-5748-BA0E-E89BEAA5940E}" type="pres">
      <dgm:prSet presAssocID="{3804DC4B-6710-ED45-A030-599BE4B0D0FC}" presName="parentText" presStyleLbl="node1" presStyleIdx="2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783080-B6FC-B841-BAB0-DA64AD8BC24F}" type="pres">
      <dgm:prSet presAssocID="{3804DC4B-6710-ED45-A030-599BE4B0D0FC}" presName="negativeSpace" presStyleCnt="0"/>
      <dgm:spPr/>
    </dgm:pt>
    <dgm:pt modelId="{769E600A-6517-B344-8200-F89FBC70A2EF}" type="pres">
      <dgm:prSet presAssocID="{3804DC4B-6710-ED45-A030-599BE4B0D0FC}" presName="childText" presStyleLbl="conFgAcc1" presStyleIdx="2" presStyleCnt="6">
        <dgm:presLayoutVars>
          <dgm:bulletEnabled val="1"/>
        </dgm:presLayoutVars>
      </dgm:prSet>
      <dgm:spPr>
        <a:ln>
          <a:solidFill>
            <a:srgbClr val="0070C0"/>
          </a:solidFill>
        </a:ln>
      </dgm:spPr>
      <dgm:t>
        <a:bodyPr/>
        <a:lstStyle/>
        <a:p>
          <a:endParaRPr lang="hu-HU"/>
        </a:p>
      </dgm:t>
    </dgm:pt>
    <dgm:pt modelId="{F752C6E2-7E66-A84A-A6F3-24D617B01159}" type="pres">
      <dgm:prSet presAssocID="{13EC54C1-1EE5-B847-8393-E2C230DB1DC1}" presName="spaceBetweenRectangles" presStyleCnt="0"/>
      <dgm:spPr/>
    </dgm:pt>
    <dgm:pt modelId="{D62562CD-1F5F-8847-8247-F6CB8E620CC4}" type="pres">
      <dgm:prSet presAssocID="{4A13D432-2972-5343-9C6A-A676F19CC563}" presName="parentLin" presStyleCnt="0"/>
      <dgm:spPr/>
    </dgm:pt>
    <dgm:pt modelId="{4788FD63-169F-E340-B84D-55A5289072A9}" type="pres">
      <dgm:prSet presAssocID="{4A13D432-2972-5343-9C6A-A676F19CC563}" presName="parentLeftMargin" presStyleLbl="node1" presStyleIdx="2" presStyleCnt="6"/>
      <dgm:spPr/>
      <dgm:t>
        <a:bodyPr/>
        <a:lstStyle/>
        <a:p>
          <a:endParaRPr lang="hu-HU"/>
        </a:p>
      </dgm:t>
    </dgm:pt>
    <dgm:pt modelId="{62F0ACF7-5347-314F-AF60-AC85B90A049C}" type="pres">
      <dgm:prSet presAssocID="{4A13D432-2972-5343-9C6A-A676F19CC563}" presName="parentText" presStyleLbl="node1" presStyleIdx="3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EE870C-A287-0E4C-B8ED-FF7721F83822}" type="pres">
      <dgm:prSet presAssocID="{4A13D432-2972-5343-9C6A-A676F19CC563}" presName="negativeSpace" presStyleCnt="0"/>
      <dgm:spPr/>
    </dgm:pt>
    <dgm:pt modelId="{43F6C653-3852-0A41-89B5-508D554CA729}" type="pres">
      <dgm:prSet presAssocID="{4A13D432-2972-5343-9C6A-A676F19CC563}" presName="childText" presStyleLbl="conFgAcc1" presStyleIdx="3" presStyleCnt="6">
        <dgm:presLayoutVars>
          <dgm:bulletEnabled val="1"/>
        </dgm:presLayoutVars>
      </dgm:prSet>
      <dgm:spPr>
        <a:ln>
          <a:solidFill>
            <a:srgbClr val="0070C0"/>
          </a:solidFill>
        </a:ln>
      </dgm:spPr>
      <dgm:t>
        <a:bodyPr/>
        <a:lstStyle/>
        <a:p>
          <a:endParaRPr lang="hu-HU"/>
        </a:p>
      </dgm:t>
    </dgm:pt>
    <dgm:pt modelId="{9C6D876D-2A4A-9E45-B83C-7775417D7040}" type="pres">
      <dgm:prSet presAssocID="{B89C99F3-A78A-7B41-BE65-5E9FFC3A158B}" presName="spaceBetweenRectangles" presStyleCnt="0"/>
      <dgm:spPr/>
    </dgm:pt>
    <dgm:pt modelId="{097E5885-2B0E-564C-A5DA-525A7C4D0569}" type="pres">
      <dgm:prSet presAssocID="{0F77B7A4-87A4-2048-8355-3CA4D597F7D3}" presName="parentLin" presStyleCnt="0"/>
      <dgm:spPr/>
    </dgm:pt>
    <dgm:pt modelId="{883275EB-97FF-0E4C-8DB4-F54E052A38F8}" type="pres">
      <dgm:prSet presAssocID="{0F77B7A4-87A4-2048-8355-3CA4D597F7D3}" presName="parentLeftMargin" presStyleLbl="node1" presStyleIdx="3" presStyleCnt="6"/>
      <dgm:spPr/>
      <dgm:t>
        <a:bodyPr/>
        <a:lstStyle/>
        <a:p>
          <a:endParaRPr lang="hu-HU"/>
        </a:p>
      </dgm:t>
    </dgm:pt>
    <dgm:pt modelId="{C67CD6A2-2251-154A-AC05-9CC1D563F97F}" type="pres">
      <dgm:prSet presAssocID="{0F77B7A4-87A4-2048-8355-3CA4D597F7D3}" presName="parentText" presStyleLbl="node1" presStyleIdx="4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E9161E-0051-9540-A529-02CA00B36DA3}" type="pres">
      <dgm:prSet presAssocID="{0F77B7A4-87A4-2048-8355-3CA4D597F7D3}" presName="negativeSpace" presStyleCnt="0"/>
      <dgm:spPr/>
    </dgm:pt>
    <dgm:pt modelId="{D7288017-F761-2E42-9656-F0D61A00FAF0}" type="pres">
      <dgm:prSet presAssocID="{0F77B7A4-87A4-2048-8355-3CA4D597F7D3}" presName="childText" presStyleLbl="conFgAcc1" presStyleIdx="4" presStyleCnt="6">
        <dgm:presLayoutVars>
          <dgm:bulletEnabled val="1"/>
        </dgm:presLayoutVars>
      </dgm:prSet>
      <dgm:spPr>
        <a:ln>
          <a:solidFill>
            <a:srgbClr val="0070C0"/>
          </a:solidFill>
        </a:ln>
      </dgm:spPr>
      <dgm:t>
        <a:bodyPr/>
        <a:lstStyle/>
        <a:p>
          <a:endParaRPr lang="hu-HU"/>
        </a:p>
      </dgm:t>
    </dgm:pt>
    <dgm:pt modelId="{02276DD6-E791-C14E-8633-04C20D21BD8C}" type="pres">
      <dgm:prSet presAssocID="{DF5034C6-73E3-CA48-A094-8DAFA1A56069}" presName="spaceBetweenRectangles" presStyleCnt="0"/>
      <dgm:spPr/>
    </dgm:pt>
    <dgm:pt modelId="{B6CB30FD-B66A-E547-99AC-7239E4DE3A14}" type="pres">
      <dgm:prSet presAssocID="{5B5D96E6-26BF-3744-A4FB-43589F603520}" presName="parentLin" presStyleCnt="0"/>
      <dgm:spPr/>
    </dgm:pt>
    <dgm:pt modelId="{BA31A2BE-B3B8-9049-8508-E0C55F244A26}" type="pres">
      <dgm:prSet presAssocID="{5B5D96E6-26BF-3744-A4FB-43589F603520}" presName="parentLeftMargin" presStyleLbl="node1" presStyleIdx="4" presStyleCnt="6"/>
      <dgm:spPr/>
      <dgm:t>
        <a:bodyPr/>
        <a:lstStyle/>
        <a:p>
          <a:endParaRPr lang="hu-HU"/>
        </a:p>
      </dgm:t>
    </dgm:pt>
    <dgm:pt modelId="{23590DC4-C2EC-684E-87C7-FC6E3ED8938F}" type="pres">
      <dgm:prSet presAssocID="{5B5D96E6-26BF-3744-A4FB-43589F603520}" presName="parentText" presStyleLbl="node1" presStyleIdx="5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F6208F-1E93-FD41-9433-A09239DEC81C}" type="pres">
      <dgm:prSet presAssocID="{5B5D96E6-26BF-3744-A4FB-43589F603520}" presName="negativeSpace" presStyleCnt="0"/>
      <dgm:spPr/>
    </dgm:pt>
    <dgm:pt modelId="{7C395EB4-31BE-EC4B-848F-606FE91D7BC7}" type="pres">
      <dgm:prSet presAssocID="{5B5D96E6-26BF-3744-A4FB-43589F603520}" presName="childText" presStyleLbl="conFgAcc1" presStyleIdx="5" presStyleCnt="6">
        <dgm:presLayoutVars>
          <dgm:bulletEnabled val="1"/>
        </dgm:presLayoutVars>
      </dgm:prSet>
      <dgm:spPr>
        <a:ln>
          <a:solidFill>
            <a:srgbClr val="0070C0"/>
          </a:solidFill>
        </a:ln>
      </dgm:spPr>
      <dgm:t>
        <a:bodyPr/>
        <a:lstStyle/>
        <a:p>
          <a:endParaRPr lang="hu-HU"/>
        </a:p>
      </dgm:t>
    </dgm:pt>
  </dgm:ptLst>
  <dgm:cxnLst>
    <dgm:cxn modelId="{794B4A62-6569-0146-ABDD-977F39493385}" srcId="{48D28722-8E02-6248-8E87-AD92983BA091}" destId="{0F77B7A4-87A4-2048-8355-3CA4D597F7D3}" srcOrd="4" destOrd="0" parTransId="{08397200-AE09-4642-95EA-D071A1103623}" sibTransId="{DF5034C6-73E3-CA48-A094-8DAFA1A56069}"/>
    <dgm:cxn modelId="{F30BA63C-F889-4746-97CD-0456CC3CCA1F}" srcId="{48D28722-8E02-6248-8E87-AD92983BA091}" destId="{AADEEFC0-7B8E-3944-B2DF-F681632470D8}" srcOrd="0" destOrd="0" parTransId="{F300731F-7520-AF45-84D5-16760D5A928E}" sibTransId="{2F018E97-5795-D941-B809-4EDC8C5ED252}"/>
    <dgm:cxn modelId="{0D7006B1-4004-48F7-AFC8-04ACBB7C13C9}" type="presOf" srcId="{4A13D432-2972-5343-9C6A-A676F19CC563}" destId="{62F0ACF7-5347-314F-AF60-AC85B90A049C}" srcOrd="1" destOrd="0" presId="urn:microsoft.com/office/officeart/2005/8/layout/list1"/>
    <dgm:cxn modelId="{194C27DE-3FF6-644B-BA57-C86B7449CFCF}" srcId="{48D28722-8E02-6248-8E87-AD92983BA091}" destId="{5B5D96E6-26BF-3744-A4FB-43589F603520}" srcOrd="5" destOrd="0" parTransId="{75FEE55A-3A97-A549-B31F-C9F1BCDD341B}" sibTransId="{23F06192-6ECE-B449-9B5F-A4A7EDBD6470}"/>
    <dgm:cxn modelId="{C2E91676-ADE0-4E84-942C-C341A73A5C11}" type="presOf" srcId="{AADEEFC0-7B8E-3944-B2DF-F681632470D8}" destId="{A1E845E0-3383-DB47-B56D-3D07A6DF44EA}" srcOrd="0" destOrd="0" presId="urn:microsoft.com/office/officeart/2005/8/layout/list1"/>
    <dgm:cxn modelId="{4745CF7E-4C04-9042-B67A-A15DDD436399}" srcId="{48D28722-8E02-6248-8E87-AD92983BA091}" destId="{0EDCE75C-CF4F-E146-AF26-F610E5E741C7}" srcOrd="1" destOrd="0" parTransId="{1E0DE288-F5E5-FF42-89B4-06DC53E4DC54}" sibTransId="{17187CD2-A772-3846-B628-72D6688E9B67}"/>
    <dgm:cxn modelId="{8C896BFB-B462-4538-A930-91D487B2B367}" type="presOf" srcId="{0F77B7A4-87A4-2048-8355-3CA4D597F7D3}" destId="{C67CD6A2-2251-154A-AC05-9CC1D563F97F}" srcOrd="1" destOrd="0" presId="urn:microsoft.com/office/officeart/2005/8/layout/list1"/>
    <dgm:cxn modelId="{9AA84268-6576-4EA8-90B6-AC44AA390496}" type="presOf" srcId="{3804DC4B-6710-ED45-A030-599BE4B0D0FC}" destId="{CF9B06CD-78A1-5748-BA0E-E89BEAA5940E}" srcOrd="1" destOrd="0" presId="urn:microsoft.com/office/officeart/2005/8/layout/list1"/>
    <dgm:cxn modelId="{01BC38C5-E218-4515-8D0F-7522472F8069}" type="presOf" srcId="{3804DC4B-6710-ED45-A030-599BE4B0D0FC}" destId="{7E142488-A532-9B49-B46C-13179CDEFE69}" srcOrd="0" destOrd="0" presId="urn:microsoft.com/office/officeart/2005/8/layout/list1"/>
    <dgm:cxn modelId="{C9335ED7-77D6-4CA9-8958-D27A926E2CCC}" type="presOf" srcId="{0EDCE75C-CF4F-E146-AF26-F610E5E741C7}" destId="{CBD155A0-9B18-3E46-8A5B-43B5B978C8DD}" srcOrd="0" destOrd="0" presId="urn:microsoft.com/office/officeart/2005/8/layout/list1"/>
    <dgm:cxn modelId="{EDB41345-D8E7-465B-94D1-D2FA834C7D8E}" type="presOf" srcId="{4A13D432-2972-5343-9C6A-A676F19CC563}" destId="{4788FD63-169F-E340-B84D-55A5289072A9}" srcOrd="0" destOrd="0" presId="urn:microsoft.com/office/officeart/2005/8/layout/list1"/>
    <dgm:cxn modelId="{1BC811A9-5F02-44F9-B21D-2A0C16442F36}" type="presOf" srcId="{0EDCE75C-CF4F-E146-AF26-F610E5E741C7}" destId="{DD1BFDDA-895E-AD45-BE26-FD28A45EFFD3}" srcOrd="1" destOrd="0" presId="urn:microsoft.com/office/officeart/2005/8/layout/list1"/>
    <dgm:cxn modelId="{B050F10B-2D97-4B22-AC72-5A42E2A62B7E}" type="presOf" srcId="{48D28722-8E02-6248-8E87-AD92983BA091}" destId="{5219EF1A-D059-0042-883C-42DD6EBB1842}" srcOrd="0" destOrd="0" presId="urn:microsoft.com/office/officeart/2005/8/layout/list1"/>
    <dgm:cxn modelId="{6867889D-9392-8640-8C0A-D5571D022BF4}" srcId="{48D28722-8E02-6248-8E87-AD92983BA091}" destId="{4A13D432-2972-5343-9C6A-A676F19CC563}" srcOrd="3" destOrd="0" parTransId="{B47A0E29-BC80-724F-AE87-5EF78DACC046}" sibTransId="{B89C99F3-A78A-7B41-BE65-5E9FFC3A158B}"/>
    <dgm:cxn modelId="{2873FB88-0E90-444B-AF9D-59EC26562B5A}" type="presOf" srcId="{5B5D96E6-26BF-3744-A4FB-43589F603520}" destId="{23590DC4-C2EC-684E-87C7-FC6E3ED8938F}" srcOrd="1" destOrd="0" presId="urn:microsoft.com/office/officeart/2005/8/layout/list1"/>
    <dgm:cxn modelId="{F5C93AB6-C5DB-4494-BB39-12B109D3DBAE}" type="presOf" srcId="{5B5D96E6-26BF-3744-A4FB-43589F603520}" destId="{BA31A2BE-B3B8-9049-8508-E0C55F244A26}" srcOrd="0" destOrd="0" presId="urn:microsoft.com/office/officeart/2005/8/layout/list1"/>
    <dgm:cxn modelId="{D929DC21-AD13-4961-8041-ADF0C9D35F39}" type="presOf" srcId="{AADEEFC0-7B8E-3944-B2DF-F681632470D8}" destId="{39B4B799-55CF-A345-A390-77B5161735EB}" srcOrd="1" destOrd="0" presId="urn:microsoft.com/office/officeart/2005/8/layout/list1"/>
    <dgm:cxn modelId="{1DB6A5A5-AB81-054B-AA81-564854E1E5D0}" srcId="{48D28722-8E02-6248-8E87-AD92983BA091}" destId="{3804DC4B-6710-ED45-A030-599BE4B0D0FC}" srcOrd="2" destOrd="0" parTransId="{30A22FCB-E05B-204E-9F33-C64147DC0B27}" sibTransId="{13EC54C1-1EE5-B847-8393-E2C230DB1DC1}"/>
    <dgm:cxn modelId="{F8157B63-1F53-4FA7-A985-1790BCA7725D}" type="presOf" srcId="{0F77B7A4-87A4-2048-8355-3CA4D597F7D3}" destId="{883275EB-97FF-0E4C-8DB4-F54E052A38F8}" srcOrd="0" destOrd="0" presId="urn:microsoft.com/office/officeart/2005/8/layout/list1"/>
    <dgm:cxn modelId="{448A0E22-2983-48E4-88A9-CC16C284EC4F}" type="presParOf" srcId="{5219EF1A-D059-0042-883C-42DD6EBB1842}" destId="{0965BF76-DE05-054D-8528-93696337F919}" srcOrd="0" destOrd="0" presId="urn:microsoft.com/office/officeart/2005/8/layout/list1"/>
    <dgm:cxn modelId="{4952BA4F-7ACF-478C-AB58-D36CD4C42BE6}" type="presParOf" srcId="{0965BF76-DE05-054D-8528-93696337F919}" destId="{A1E845E0-3383-DB47-B56D-3D07A6DF44EA}" srcOrd="0" destOrd="0" presId="urn:microsoft.com/office/officeart/2005/8/layout/list1"/>
    <dgm:cxn modelId="{00FFD14F-B2DF-4850-A912-4E0295785FB2}" type="presParOf" srcId="{0965BF76-DE05-054D-8528-93696337F919}" destId="{39B4B799-55CF-A345-A390-77B5161735EB}" srcOrd="1" destOrd="0" presId="urn:microsoft.com/office/officeart/2005/8/layout/list1"/>
    <dgm:cxn modelId="{23925EFE-4410-4ED8-A62C-2C3FE765CF43}" type="presParOf" srcId="{5219EF1A-D059-0042-883C-42DD6EBB1842}" destId="{7874F4F2-01C0-CD46-BA94-7FFBCE6BF824}" srcOrd="1" destOrd="0" presId="urn:microsoft.com/office/officeart/2005/8/layout/list1"/>
    <dgm:cxn modelId="{BEBE8185-3768-4FC9-85B3-48ABA239C868}" type="presParOf" srcId="{5219EF1A-D059-0042-883C-42DD6EBB1842}" destId="{E847ACF3-6ACF-0447-8E8D-6B6F6ABB6E64}" srcOrd="2" destOrd="0" presId="urn:microsoft.com/office/officeart/2005/8/layout/list1"/>
    <dgm:cxn modelId="{DE650C2A-37F9-486C-BBCB-E98D3B111657}" type="presParOf" srcId="{5219EF1A-D059-0042-883C-42DD6EBB1842}" destId="{42A5B17B-7F37-E94B-9A74-18C333743E40}" srcOrd="3" destOrd="0" presId="urn:microsoft.com/office/officeart/2005/8/layout/list1"/>
    <dgm:cxn modelId="{07A8FD48-B528-44D2-B2AD-330026ECE105}" type="presParOf" srcId="{5219EF1A-D059-0042-883C-42DD6EBB1842}" destId="{25CF159B-B472-2D4B-9BA9-884953EDF378}" srcOrd="4" destOrd="0" presId="urn:microsoft.com/office/officeart/2005/8/layout/list1"/>
    <dgm:cxn modelId="{9555B9DA-9271-4E8B-B79F-BA9F8CEF512F}" type="presParOf" srcId="{25CF159B-B472-2D4B-9BA9-884953EDF378}" destId="{CBD155A0-9B18-3E46-8A5B-43B5B978C8DD}" srcOrd="0" destOrd="0" presId="urn:microsoft.com/office/officeart/2005/8/layout/list1"/>
    <dgm:cxn modelId="{BB12DF78-E861-4B4F-A877-DDD6EC35CB4C}" type="presParOf" srcId="{25CF159B-B472-2D4B-9BA9-884953EDF378}" destId="{DD1BFDDA-895E-AD45-BE26-FD28A45EFFD3}" srcOrd="1" destOrd="0" presId="urn:microsoft.com/office/officeart/2005/8/layout/list1"/>
    <dgm:cxn modelId="{3A804092-F424-4E58-9A16-8691FFB1A062}" type="presParOf" srcId="{5219EF1A-D059-0042-883C-42DD6EBB1842}" destId="{1462A40E-1E33-C44F-9B71-4FB7C79FA350}" srcOrd="5" destOrd="0" presId="urn:microsoft.com/office/officeart/2005/8/layout/list1"/>
    <dgm:cxn modelId="{E5D93AFE-FA6B-44BE-B19F-2B3A38EEDCD8}" type="presParOf" srcId="{5219EF1A-D059-0042-883C-42DD6EBB1842}" destId="{1A0801EC-59F7-FE4E-AC05-EDF3A61FF079}" srcOrd="6" destOrd="0" presId="urn:microsoft.com/office/officeart/2005/8/layout/list1"/>
    <dgm:cxn modelId="{C6FDA352-6D1C-4862-A821-D3597153DF9A}" type="presParOf" srcId="{5219EF1A-D059-0042-883C-42DD6EBB1842}" destId="{829BC4CB-7541-6946-9ED7-21C7CAE58306}" srcOrd="7" destOrd="0" presId="urn:microsoft.com/office/officeart/2005/8/layout/list1"/>
    <dgm:cxn modelId="{B842C05D-D43F-49E1-9A61-87E649408002}" type="presParOf" srcId="{5219EF1A-D059-0042-883C-42DD6EBB1842}" destId="{6CDB415B-4566-EA40-B82C-4FF346425A04}" srcOrd="8" destOrd="0" presId="urn:microsoft.com/office/officeart/2005/8/layout/list1"/>
    <dgm:cxn modelId="{DE335331-78F0-48FE-87A3-8CD27BBED875}" type="presParOf" srcId="{6CDB415B-4566-EA40-B82C-4FF346425A04}" destId="{7E142488-A532-9B49-B46C-13179CDEFE69}" srcOrd="0" destOrd="0" presId="urn:microsoft.com/office/officeart/2005/8/layout/list1"/>
    <dgm:cxn modelId="{BC341269-D4CB-4B58-B4FD-64CA9C7D358C}" type="presParOf" srcId="{6CDB415B-4566-EA40-B82C-4FF346425A04}" destId="{CF9B06CD-78A1-5748-BA0E-E89BEAA5940E}" srcOrd="1" destOrd="0" presId="urn:microsoft.com/office/officeart/2005/8/layout/list1"/>
    <dgm:cxn modelId="{7C9D07E4-0786-4790-8C82-33E8E6B1A932}" type="presParOf" srcId="{5219EF1A-D059-0042-883C-42DD6EBB1842}" destId="{82783080-B6FC-B841-BAB0-DA64AD8BC24F}" srcOrd="9" destOrd="0" presId="urn:microsoft.com/office/officeart/2005/8/layout/list1"/>
    <dgm:cxn modelId="{41F2F132-EE16-4FAE-9BC9-F401C380D8A5}" type="presParOf" srcId="{5219EF1A-D059-0042-883C-42DD6EBB1842}" destId="{769E600A-6517-B344-8200-F89FBC70A2EF}" srcOrd="10" destOrd="0" presId="urn:microsoft.com/office/officeart/2005/8/layout/list1"/>
    <dgm:cxn modelId="{CFBD422B-89AF-4C1F-9AA4-856C22471B4E}" type="presParOf" srcId="{5219EF1A-D059-0042-883C-42DD6EBB1842}" destId="{F752C6E2-7E66-A84A-A6F3-24D617B01159}" srcOrd="11" destOrd="0" presId="urn:microsoft.com/office/officeart/2005/8/layout/list1"/>
    <dgm:cxn modelId="{637C352D-B630-4944-9D1D-25DEB6A4710C}" type="presParOf" srcId="{5219EF1A-D059-0042-883C-42DD6EBB1842}" destId="{D62562CD-1F5F-8847-8247-F6CB8E620CC4}" srcOrd="12" destOrd="0" presId="urn:microsoft.com/office/officeart/2005/8/layout/list1"/>
    <dgm:cxn modelId="{9972C195-61A8-423A-988F-3DD07F95330C}" type="presParOf" srcId="{D62562CD-1F5F-8847-8247-F6CB8E620CC4}" destId="{4788FD63-169F-E340-B84D-55A5289072A9}" srcOrd="0" destOrd="0" presId="urn:microsoft.com/office/officeart/2005/8/layout/list1"/>
    <dgm:cxn modelId="{DCE9CB15-BE89-4F39-A6B1-685294174880}" type="presParOf" srcId="{D62562CD-1F5F-8847-8247-F6CB8E620CC4}" destId="{62F0ACF7-5347-314F-AF60-AC85B90A049C}" srcOrd="1" destOrd="0" presId="urn:microsoft.com/office/officeart/2005/8/layout/list1"/>
    <dgm:cxn modelId="{FD11B9EA-E915-41E3-9843-5386F53A84AD}" type="presParOf" srcId="{5219EF1A-D059-0042-883C-42DD6EBB1842}" destId="{E9EE870C-A287-0E4C-B8ED-FF7721F83822}" srcOrd="13" destOrd="0" presId="urn:microsoft.com/office/officeart/2005/8/layout/list1"/>
    <dgm:cxn modelId="{641E4D8C-F6A0-41EE-95F5-832124A55C06}" type="presParOf" srcId="{5219EF1A-D059-0042-883C-42DD6EBB1842}" destId="{43F6C653-3852-0A41-89B5-508D554CA729}" srcOrd="14" destOrd="0" presId="urn:microsoft.com/office/officeart/2005/8/layout/list1"/>
    <dgm:cxn modelId="{368DF971-61EB-422D-9F64-BFFD9E0F9C75}" type="presParOf" srcId="{5219EF1A-D059-0042-883C-42DD6EBB1842}" destId="{9C6D876D-2A4A-9E45-B83C-7775417D7040}" srcOrd="15" destOrd="0" presId="urn:microsoft.com/office/officeart/2005/8/layout/list1"/>
    <dgm:cxn modelId="{CFBCAEAE-5F9B-49AE-999C-2C1EB133EB01}" type="presParOf" srcId="{5219EF1A-D059-0042-883C-42DD6EBB1842}" destId="{097E5885-2B0E-564C-A5DA-525A7C4D0569}" srcOrd="16" destOrd="0" presId="urn:microsoft.com/office/officeart/2005/8/layout/list1"/>
    <dgm:cxn modelId="{70310006-A68B-4EBD-A049-1C89B0F043D1}" type="presParOf" srcId="{097E5885-2B0E-564C-A5DA-525A7C4D0569}" destId="{883275EB-97FF-0E4C-8DB4-F54E052A38F8}" srcOrd="0" destOrd="0" presId="urn:microsoft.com/office/officeart/2005/8/layout/list1"/>
    <dgm:cxn modelId="{89981299-4619-4AC9-BF6C-A519C0466F95}" type="presParOf" srcId="{097E5885-2B0E-564C-A5DA-525A7C4D0569}" destId="{C67CD6A2-2251-154A-AC05-9CC1D563F97F}" srcOrd="1" destOrd="0" presId="urn:microsoft.com/office/officeart/2005/8/layout/list1"/>
    <dgm:cxn modelId="{A3979985-766D-4715-8609-8891FA9F5C6E}" type="presParOf" srcId="{5219EF1A-D059-0042-883C-42DD6EBB1842}" destId="{04E9161E-0051-9540-A529-02CA00B36DA3}" srcOrd="17" destOrd="0" presId="urn:microsoft.com/office/officeart/2005/8/layout/list1"/>
    <dgm:cxn modelId="{942A6C40-D3C0-4158-89C7-4FA12CAA7BED}" type="presParOf" srcId="{5219EF1A-D059-0042-883C-42DD6EBB1842}" destId="{D7288017-F761-2E42-9656-F0D61A00FAF0}" srcOrd="18" destOrd="0" presId="urn:microsoft.com/office/officeart/2005/8/layout/list1"/>
    <dgm:cxn modelId="{B6C4D1C5-17B8-41C4-A4B7-0AD1550FAD6B}" type="presParOf" srcId="{5219EF1A-D059-0042-883C-42DD6EBB1842}" destId="{02276DD6-E791-C14E-8633-04C20D21BD8C}" srcOrd="19" destOrd="0" presId="urn:microsoft.com/office/officeart/2005/8/layout/list1"/>
    <dgm:cxn modelId="{4DB64784-9207-48DD-8A65-6423B4D150C2}" type="presParOf" srcId="{5219EF1A-D059-0042-883C-42DD6EBB1842}" destId="{B6CB30FD-B66A-E547-99AC-7239E4DE3A14}" srcOrd="20" destOrd="0" presId="urn:microsoft.com/office/officeart/2005/8/layout/list1"/>
    <dgm:cxn modelId="{67576E0E-703F-44CC-B114-B61E964C0555}" type="presParOf" srcId="{B6CB30FD-B66A-E547-99AC-7239E4DE3A14}" destId="{BA31A2BE-B3B8-9049-8508-E0C55F244A26}" srcOrd="0" destOrd="0" presId="urn:microsoft.com/office/officeart/2005/8/layout/list1"/>
    <dgm:cxn modelId="{51BEE641-6243-44D3-9E95-CB067B1BF3B6}" type="presParOf" srcId="{B6CB30FD-B66A-E547-99AC-7239E4DE3A14}" destId="{23590DC4-C2EC-684E-87C7-FC6E3ED8938F}" srcOrd="1" destOrd="0" presId="urn:microsoft.com/office/officeart/2005/8/layout/list1"/>
    <dgm:cxn modelId="{48E6491F-068D-4D09-8349-3A172057A09A}" type="presParOf" srcId="{5219EF1A-D059-0042-883C-42DD6EBB1842}" destId="{8AF6208F-1E93-FD41-9433-A09239DEC81C}" srcOrd="21" destOrd="0" presId="urn:microsoft.com/office/officeart/2005/8/layout/list1"/>
    <dgm:cxn modelId="{0206CC25-3000-4D57-9247-184AA3FAE7F6}" type="presParOf" srcId="{5219EF1A-D059-0042-883C-42DD6EBB1842}" destId="{7C395EB4-31BE-EC4B-848F-606FE91D7BC7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8D28722-8E02-6248-8E87-AD92983BA091}" type="doc">
      <dgm:prSet loTypeId="urn:microsoft.com/office/officeart/2005/8/layout/list1" loCatId="list" qsTypeId="urn:microsoft.com/office/officeart/2005/8/quickstyle/simple4" qsCatId="simple" csTypeId="urn:microsoft.com/office/officeart/2005/8/colors/accent4_3" csCatId="accent4" phldr="1"/>
      <dgm:spPr/>
      <dgm:t>
        <a:bodyPr/>
        <a:lstStyle/>
        <a:p>
          <a:endParaRPr lang="en-US"/>
        </a:p>
      </dgm:t>
    </dgm:pt>
    <dgm:pt modelId="{AADEEFC0-7B8E-3944-B2DF-F681632470D8}">
      <dgm:prSet phldrT="[Text]" custT="1"/>
      <dgm:spPr>
        <a:solidFill>
          <a:srgbClr val="8EC875"/>
        </a:solidFill>
      </dgm:spPr>
      <dgm:t>
        <a:bodyPr/>
        <a:lstStyle/>
        <a:p>
          <a:r>
            <a:rPr lang="hu-HU" sz="2400" b="1" dirty="0" smtClean="0">
              <a:solidFill>
                <a:srgbClr val="002060"/>
              </a:solidFill>
            </a:rPr>
            <a:t>5. </a:t>
          </a:r>
          <a:r>
            <a:rPr lang="en-US" sz="2400" b="1" dirty="0" err="1" smtClean="0">
              <a:solidFill>
                <a:srgbClr val="002060"/>
              </a:solidFill>
            </a:rPr>
            <a:t>Viselkedési</a:t>
          </a:r>
          <a:r>
            <a:rPr lang="en-US" sz="2400" b="1" dirty="0" smtClean="0">
              <a:solidFill>
                <a:srgbClr val="002060"/>
              </a:solidFill>
            </a:rPr>
            <a:t> </a:t>
          </a:r>
          <a:r>
            <a:rPr lang="en-US" sz="2400" b="1" dirty="0" err="1" smtClean="0">
              <a:solidFill>
                <a:srgbClr val="002060"/>
              </a:solidFill>
            </a:rPr>
            <a:t>jellemzővé</a:t>
          </a:r>
          <a:r>
            <a:rPr lang="en-US" sz="2400" b="1" dirty="0" smtClean="0">
              <a:solidFill>
                <a:srgbClr val="002060"/>
              </a:solidFill>
            </a:rPr>
            <a:t> </a:t>
          </a:r>
          <a:r>
            <a:rPr lang="en-US" sz="2400" b="1" dirty="0" err="1" smtClean="0">
              <a:solidFill>
                <a:srgbClr val="002060"/>
              </a:solidFill>
            </a:rPr>
            <a:t>válás</a:t>
          </a:r>
          <a:r>
            <a:rPr lang="en-US" sz="2400" b="1" dirty="0" smtClean="0">
              <a:solidFill>
                <a:srgbClr val="002060"/>
              </a:solidFill>
            </a:rPr>
            <a:t>, </a:t>
          </a:r>
          <a:r>
            <a:rPr lang="en-US" sz="2400" b="1" dirty="0" err="1" smtClean="0">
              <a:solidFill>
                <a:srgbClr val="002060"/>
              </a:solidFill>
            </a:rPr>
            <a:t>megerősítés</a:t>
          </a:r>
          <a:endParaRPr lang="en-US" sz="2400" b="1" dirty="0">
            <a:solidFill>
              <a:srgbClr val="002060"/>
            </a:solidFill>
          </a:endParaRPr>
        </a:p>
      </dgm:t>
    </dgm:pt>
    <dgm:pt modelId="{F300731F-7520-AF45-84D5-16760D5A928E}" type="parTrans" cxnId="{F30BA63C-F889-4746-97CD-0456CC3CCA1F}">
      <dgm:prSet/>
      <dgm:spPr/>
      <dgm:t>
        <a:bodyPr/>
        <a:lstStyle/>
        <a:p>
          <a:endParaRPr lang="en-US" sz="2400">
            <a:solidFill>
              <a:srgbClr val="002060"/>
            </a:solidFill>
          </a:endParaRPr>
        </a:p>
      </dgm:t>
    </dgm:pt>
    <dgm:pt modelId="{2F018E97-5795-D941-B809-4EDC8C5ED252}" type="sibTrans" cxnId="{F30BA63C-F889-4746-97CD-0456CC3CCA1F}">
      <dgm:prSet/>
      <dgm:spPr/>
      <dgm:t>
        <a:bodyPr/>
        <a:lstStyle/>
        <a:p>
          <a:endParaRPr lang="en-US" sz="2400">
            <a:solidFill>
              <a:srgbClr val="002060"/>
            </a:solidFill>
          </a:endParaRPr>
        </a:p>
      </dgm:t>
    </dgm:pt>
    <dgm:pt modelId="{0F77B7A4-87A4-2048-8355-3CA4D597F7D3}">
      <dgm:prSet phldrT="[Text]" custT="1"/>
      <dgm:spPr>
        <a:solidFill>
          <a:srgbClr val="8EC875"/>
        </a:solidFill>
      </dgm:spPr>
      <dgm:t>
        <a:bodyPr/>
        <a:lstStyle/>
        <a:p>
          <a:r>
            <a:rPr lang="hu-HU" sz="2400" b="1" dirty="0" smtClean="0">
              <a:solidFill>
                <a:srgbClr val="002060"/>
              </a:solidFill>
            </a:rPr>
            <a:t>2. </a:t>
          </a:r>
          <a:r>
            <a:rPr lang="en-US" sz="2400" b="1" dirty="0" err="1" smtClean="0">
              <a:solidFill>
                <a:srgbClr val="002060"/>
              </a:solidFill>
            </a:rPr>
            <a:t>Válaszolás</a:t>
          </a:r>
          <a:r>
            <a:rPr lang="en-US" sz="2400" b="1" dirty="0" smtClean="0">
              <a:solidFill>
                <a:srgbClr val="002060"/>
              </a:solidFill>
            </a:rPr>
            <a:t> (</a:t>
          </a:r>
          <a:r>
            <a:rPr lang="en-US" sz="2400" b="1" dirty="0" err="1" smtClean="0">
              <a:solidFill>
                <a:srgbClr val="002060"/>
              </a:solidFill>
            </a:rPr>
            <a:t>reagál</a:t>
          </a:r>
          <a:r>
            <a:rPr lang="hu-HU" sz="2400" b="1" dirty="0" smtClean="0">
              <a:solidFill>
                <a:srgbClr val="002060"/>
              </a:solidFill>
            </a:rPr>
            <a:t>ás</a:t>
          </a:r>
          <a:r>
            <a:rPr lang="en-US" sz="2400" b="1" dirty="0" smtClean="0">
              <a:solidFill>
                <a:srgbClr val="002060"/>
              </a:solidFill>
            </a:rPr>
            <a:t>)</a:t>
          </a:r>
          <a:endParaRPr lang="en-US" sz="2400" b="1" dirty="0">
            <a:solidFill>
              <a:srgbClr val="002060"/>
            </a:solidFill>
          </a:endParaRPr>
        </a:p>
      </dgm:t>
    </dgm:pt>
    <dgm:pt modelId="{08397200-AE09-4642-95EA-D071A1103623}" type="parTrans" cxnId="{794B4A62-6569-0146-ABDD-977F39493385}">
      <dgm:prSet/>
      <dgm:spPr/>
      <dgm:t>
        <a:bodyPr/>
        <a:lstStyle/>
        <a:p>
          <a:endParaRPr lang="en-US" sz="2400">
            <a:solidFill>
              <a:srgbClr val="002060"/>
            </a:solidFill>
          </a:endParaRPr>
        </a:p>
      </dgm:t>
    </dgm:pt>
    <dgm:pt modelId="{DF5034C6-73E3-CA48-A094-8DAFA1A56069}" type="sibTrans" cxnId="{794B4A62-6569-0146-ABDD-977F39493385}">
      <dgm:prSet/>
      <dgm:spPr/>
      <dgm:t>
        <a:bodyPr/>
        <a:lstStyle/>
        <a:p>
          <a:endParaRPr lang="en-US" sz="2400">
            <a:solidFill>
              <a:srgbClr val="002060"/>
            </a:solidFill>
          </a:endParaRPr>
        </a:p>
      </dgm:t>
    </dgm:pt>
    <dgm:pt modelId="{3804DC4B-6710-ED45-A030-599BE4B0D0FC}">
      <dgm:prSet phldrT="[Text]" custT="1"/>
      <dgm:spPr>
        <a:solidFill>
          <a:srgbClr val="8EC875"/>
        </a:solidFill>
      </dgm:spPr>
      <dgm:t>
        <a:bodyPr/>
        <a:lstStyle/>
        <a:p>
          <a:r>
            <a:rPr lang="hu-HU" sz="2400" b="1" dirty="0" smtClean="0">
              <a:solidFill>
                <a:srgbClr val="002060"/>
              </a:solidFill>
            </a:rPr>
            <a:t>4. </a:t>
          </a:r>
          <a:r>
            <a:rPr lang="en-US" sz="2400" b="1" dirty="0" err="1" smtClean="0">
              <a:solidFill>
                <a:srgbClr val="002060"/>
              </a:solidFill>
            </a:rPr>
            <a:t>Szintetizálás</a:t>
          </a:r>
          <a:endParaRPr lang="en-US" sz="2400" b="1" dirty="0">
            <a:solidFill>
              <a:srgbClr val="002060"/>
            </a:solidFill>
          </a:endParaRPr>
        </a:p>
      </dgm:t>
    </dgm:pt>
    <dgm:pt modelId="{13EC54C1-1EE5-B847-8393-E2C230DB1DC1}" type="sibTrans" cxnId="{1DB6A5A5-AB81-054B-AA81-564854E1E5D0}">
      <dgm:prSet/>
      <dgm:spPr/>
      <dgm:t>
        <a:bodyPr/>
        <a:lstStyle/>
        <a:p>
          <a:endParaRPr lang="en-US" sz="2400">
            <a:solidFill>
              <a:srgbClr val="002060"/>
            </a:solidFill>
          </a:endParaRPr>
        </a:p>
      </dgm:t>
    </dgm:pt>
    <dgm:pt modelId="{30A22FCB-E05B-204E-9F33-C64147DC0B27}" type="parTrans" cxnId="{1DB6A5A5-AB81-054B-AA81-564854E1E5D0}">
      <dgm:prSet/>
      <dgm:spPr/>
      <dgm:t>
        <a:bodyPr/>
        <a:lstStyle/>
        <a:p>
          <a:endParaRPr lang="en-US" sz="2400">
            <a:solidFill>
              <a:srgbClr val="002060"/>
            </a:solidFill>
          </a:endParaRPr>
        </a:p>
      </dgm:t>
    </dgm:pt>
    <dgm:pt modelId="{5B5D96E6-26BF-3744-A4FB-43589F603520}">
      <dgm:prSet phldrT="[Text]" custT="1"/>
      <dgm:spPr>
        <a:solidFill>
          <a:srgbClr val="8EC875"/>
        </a:solidFill>
      </dgm:spPr>
      <dgm:t>
        <a:bodyPr/>
        <a:lstStyle/>
        <a:p>
          <a:r>
            <a:rPr lang="hu-HU" sz="2400" b="1" dirty="0" smtClean="0">
              <a:solidFill>
                <a:srgbClr val="002060"/>
              </a:solidFill>
            </a:rPr>
            <a:t>1. </a:t>
          </a:r>
          <a:r>
            <a:rPr lang="en-US" sz="2400" b="1" dirty="0" err="1" smtClean="0">
              <a:solidFill>
                <a:srgbClr val="002060"/>
              </a:solidFill>
            </a:rPr>
            <a:t>Befogadás</a:t>
          </a:r>
          <a:r>
            <a:rPr lang="en-US" sz="2400" b="1" dirty="0" smtClean="0">
              <a:solidFill>
                <a:srgbClr val="002060"/>
              </a:solidFill>
            </a:rPr>
            <a:t> (</a:t>
          </a:r>
          <a:r>
            <a:rPr lang="en-US" sz="2400" b="1" dirty="0" err="1" smtClean="0">
              <a:solidFill>
                <a:srgbClr val="002060"/>
              </a:solidFill>
            </a:rPr>
            <a:t>figyelem</a:t>
          </a:r>
          <a:r>
            <a:rPr lang="en-US" sz="2400" b="1" dirty="0" smtClean="0">
              <a:solidFill>
                <a:srgbClr val="002060"/>
              </a:solidFill>
            </a:rPr>
            <a:t>)</a:t>
          </a:r>
          <a:endParaRPr lang="en-US" sz="2400" b="1" dirty="0">
            <a:solidFill>
              <a:srgbClr val="002060"/>
            </a:solidFill>
          </a:endParaRPr>
        </a:p>
      </dgm:t>
    </dgm:pt>
    <dgm:pt modelId="{75FEE55A-3A97-A549-B31F-C9F1BCDD341B}" type="parTrans" cxnId="{194C27DE-3FF6-644B-BA57-C86B7449CFCF}">
      <dgm:prSet/>
      <dgm:spPr/>
      <dgm:t>
        <a:bodyPr/>
        <a:lstStyle/>
        <a:p>
          <a:endParaRPr lang="en-US" sz="2400">
            <a:solidFill>
              <a:srgbClr val="002060"/>
            </a:solidFill>
          </a:endParaRPr>
        </a:p>
      </dgm:t>
    </dgm:pt>
    <dgm:pt modelId="{23F06192-6ECE-B449-9B5F-A4A7EDBD6470}" type="sibTrans" cxnId="{194C27DE-3FF6-644B-BA57-C86B7449CFCF}">
      <dgm:prSet/>
      <dgm:spPr/>
      <dgm:t>
        <a:bodyPr/>
        <a:lstStyle/>
        <a:p>
          <a:endParaRPr lang="en-US" sz="2400">
            <a:solidFill>
              <a:srgbClr val="002060"/>
            </a:solidFill>
          </a:endParaRPr>
        </a:p>
      </dgm:t>
    </dgm:pt>
    <dgm:pt modelId="{4A13D432-2972-5343-9C6A-A676F19CC563}">
      <dgm:prSet phldrT="[Text]" custT="1"/>
      <dgm:spPr>
        <a:solidFill>
          <a:srgbClr val="8EC875"/>
        </a:solidFill>
      </dgm:spPr>
      <dgm:t>
        <a:bodyPr/>
        <a:lstStyle/>
        <a:p>
          <a:r>
            <a:rPr lang="hu-HU" sz="2400" b="1" dirty="0" smtClean="0">
              <a:solidFill>
                <a:srgbClr val="002060"/>
              </a:solidFill>
            </a:rPr>
            <a:t>3. </a:t>
          </a:r>
          <a:r>
            <a:rPr lang="en-US" sz="2400" b="1" dirty="0" err="1" smtClean="0">
              <a:solidFill>
                <a:srgbClr val="002060"/>
              </a:solidFill>
            </a:rPr>
            <a:t>Értékelés</a:t>
          </a:r>
          <a:endParaRPr lang="en-US" sz="2400" b="1" dirty="0">
            <a:solidFill>
              <a:srgbClr val="002060"/>
            </a:solidFill>
          </a:endParaRPr>
        </a:p>
      </dgm:t>
    </dgm:pt>
    <dgm:pt modelId="{B47A0E29-BC80-724F-AE87-5EF78DACC046}" type="parTrans" cxnId="{6867889D-9392-8640-8C0A-D5571D022BF4}">
      <dgm:prSet/>
      <dgm:spPr/>
      <dgm:t>
        <a:bodyPr/>
        <a:lstStyle/>
        <a:p>
          <a:endParaRPr lang="en-US" sz="2400">
            <a:solidFill>
              <a:srgbClr val="002060"/>
            </a:solidFill>
          </a:endParaRPr>
        </a:p>
      </dgm:t>
    </dgm:pt>
    <dgm:pt modelId="{B89C99F3-A78A-7B41-BE65-5E9FFC3A158B}" type="sibTrans" cxnId="{6867889D-9392-8640-8C0A-D5571D022BF4}">
      <dgm:prSet/>
      <dgm:spPr/>
      <dgm:t>
        <a:bodyPr/>
        <a:lstStyle/>
        <a:p>
          <a:endParaRPr lang="en-US" sz="2400">
            <a:solidFill>
              <a:srgbClr val="002060"/>
            </a:solidFill>
          </a:endParaRPr>
        </a:p>
      </dgm:t>
    </dgm:pt>
    <dgm:pt modelId="{5219EF1A-D059-0042-883C-42DD6EBB1842}" type="pres">
      <dgm:prSet presAssocID="{48D28722-8E02-6248-8E87-AD92983BA091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0965BF76-DE05-054D-8528-93696337F919}" type="pres">
      <dgm:prSet presAssocID="{AADEEFC0-7B8E-3944-B2DF-F681632470D8}" presName="parentLin" presStyleCnt="0"/>
      <dgm:spPr/>
    </dgm:pt>
    <dgm:pt modelId="{A1E845E0-3383-DB47-B56D-3D07A6DF44EA}" type="pres">
      <dgm:prSet presAssocID="{AADEEFC0-7B8E-3944-B2DF-F681632470D8}" presName="parentLeftMargin" presStyleLbl="node1" presStyleIdx="0" presStyleCnt="5"/>
      <dgm:spPr/>
      <dgm:t>
        <a:bodyPr/>
        <a:lstStyle/>
        <a:p>
          <a:endParaRPr lang="hu-HU"/>
        </a:p>
      </dgm:t>
    </dgm:pt>
    <dgm:pt modelId="{39B4B799-55CF-A345-A390-77B5161735EB}" type="pres">
      <dgm:prSet presAssocID="{AADEEFC0-7B8E-3944-B2DF-F681632470D8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74F4F2-01C0-CD46-BA94-7FFBCE6BF824}" type="pres">
      <dgm:prSet presAssocID="{AADEEFC0-7B8E-3944-B2DF-F681632470D8}" presName="negativeSpace" presStyleCnt="0"/>
      <dgm:spPr/>
    </dgm:pt>
    <dgm:pt modelId="{E847ACF3-6ACF-0447-8E8D-6B6F6ABB6E64}" type="pres">
      <dgm:prSet presAssocID="{AADEEFC0-7B8E-3944-B2DF-F681632470D8}" presName="childText" presStyleLbl="conFgAcc1" presStyleIdx="0" presStyleCnt="5">
        <dgm:presLayoutVars>
          <dgm:bulletEnabled val="1"/>
        </dgm:presLayoutVars>
      </dgm:prSet>
      <dgm:spPr>
        <a:ln>
          <a:solidFill>
            <a:srgbClr val="00B050"/>
          </a:solidFill>
        </a:ln>
      </dgm:spPr>
      <dgm:t>
        <a:bodyPr/>
        <a:lstStyle/>
        <a:p>
          <a:endParaRPr lang="hu-HU"/>
        </a:p>
      </dgm:t>
    </dgm:pt>
    <dgm:pt modelId="{42A5B17B-7F37-E94B-9A74-18C333743E40}" type="pres">
      <dgm:prSet presAssocID="{2F018E97-5795-D941-B809-4EDC8C5ED252}" presName="spaceBetweenRectangles" presStyleCnt="0"/>
      <dgm:spPr/>
    </dgm:pt>
    <dgm:pt modelId="{6CDB415B-4566-EA40-B82C-4FF346425A04}" type="pres">
      <dgm:prSet presAssocID="{3804DC4B-6710-ED45-A030-599BE4B0D0FC}" presName="parentLin" presStyleCnt="0"/>
      <dgm:spPr/>
    </dgm:pt>
    <dgm:pt modelId="{7E142488-A532-9B49-B46C-13179CDEFE69}" type="pres">
      <dgm:prSet presAssocID="{3804DC4B-6710-ED45-A030-599BE4B0D0FC}" presName="parentLeftMargin" presStyleLbl="node1" presStyleIdx="0" presStyleCnt="5"/>
      <dgm:spPr/>
      <dgm:t>
        <a:bodyPr/>
        <a:lstStyle/>
        <a:p>
          <a:endParaRPr lang="hu-HU"/>
        </a:p>
      </dgm:t>
    </dgm:pt>
    <dgm:pt modelId="{CF9B06CD-78A1-5748-BA0E-E89BEAA5940E}" type="pres">
      <dgm:prSet presAssocID="{3804DC4B-6710-ED45-A030-599BE4B0D0FC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783080-B6FC-B841-BAB0-DA64AD8BC24F}" type="pres">
      <dgm:prSet presAssocID="{3804DC4B-6710-ED45-A030-599BE4B0D0FC}" presName="negativeSpace" presStyleCnt="0"/>
      <dgm:spPr/>
    </dgm:pt>
    <dgm:pt modelId="{769E600A-6517-B344-8200-F89FBC70A2EF}" type="pres">
      <dgm:prSet presAssocID="{3804DC4B-6710-ED45-A030-599BE4B0D0FC}" presName="childText" presStyleLbl="conFgAcc1" presStyleIdx="1" presStyleCnt="5">
        <dgm:presLayoutVars>
          <dgm:bulletEnabled val="1"/>
        </dgm:presLayoutVars>
      </dgm:prSet>
      <dgm:spPr>
        <a:ln>
          <a:solidFill>
            <a:srgbClr val="00B050"/>
          </a:solidFill>
        </a:ln>
      </dgm:spPr>
      <dgm:t>
        <a:bodyPr/>
        <a:lstStyle/>
        <a:p>
          <a:endParaRPr lang="hu-HU"/>
        </a:p>
      </dgm:t>
    </dgm:pt>
    <dgm:pt modelId="{F752C6E2-7E66-A84A-A6F3-24D617B01159}" type="pres">
      <dgm:prSet presAssocID="{13EC54C1-1EE5-B847-8393-E2C230DB1DC1}" presName="spaceBetweenRectangles" presStyleCnt="0"/>
      <dgm:spPr/>
    </dgm:pt>
    <dgm:pt modelId="{D62562CD-1F5F-8847-8247-F6CB8E620CC4}" type="pres">
      <dgm:prSet presAssocID="{4A13D432-2972-5343-9C6A-A676F19CC563}" presName="parentLin" presStyleCnt="0"/>
      <dgm:spPr/>
    </dgm:pt>
    <dgm:pt modelId="{4788FD63-169F-E340-B84D-55A5289072A9}" type="pres">
      <dgm:prSet presAssocID="{4A13D432-2972-5343-9C6A-A676F19CC563}" presName="parentLeftMargin" presStyleLbl="node1" presStyleIdx="1" presStyleCnt="5"/>
      <dgm:spPr/>
      <dgm:t>
        <a:bodyPr/>
        <a:lstStyle/>
        <a:p>
          <a:endParaRPr lang="hu-HU"/>
        </a:p>
      </dgm:t>
    </dgm:pt>
    <dgm:pt modelId="{62F0ACF7-5347-314F-AF60-AC85B90A049C}" type="pres">
      <dgm:prSet presAssocID="{4A13D432-2972-5343-9C6A-A676F19CC563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EE870C-A287-0E4C-B8ED-FF7721F83822}" type="pres">
      <dgm:prSet presAssocID="{4A13D432-2972-5343-9C6A-A676F19CC563}" presName="negativeSpace" presStyleCnt="0"/>
      <dgm:spPr/>
    </dgm:pt>
    <dgm:pt modelId="{43F6C653-3852-0A41-89B5-508D554CA729}" type="pres">
      <dgm:prSet presAssocID="{4A13D432-2972-5343-9C6A-A676F19CC563}" presName="childText" presStyleLbl="conFgAcc1" presStyleIdx="2" presStyleCnt="5">
        <dgm:presLayoutVars>
          <dgm:bulletEnabled val="1"/>
        </dgm:presLayoutVars>
      </dgm:prSet>
      <dgm:spPr>
        <a:ln>
          <a:solidFill>
            <a:srgbClr val="00B050"/>
          </a:solidFill>
        </a:ln>
      </dgm:spPr>
      <dgm:t>
        <a:bodyPr/>
        <a:lstStyle/>
        <a:p>
          <a:endParaRPr lang="hu-HU"/>
        </a:p>
      </dgm:t>
    </dgm:pt>
    <dgm:pt modelId="{9C6D876D-2A4A-9E45-B83C-7775417D7040}" type="pres">
      <dgm:prSet presAssocID="{B89C99F3-A78A-7B41-BE65-5E9FFC3A158B}" presName="spaceBetweenRectangles" presStyleCnt="0"/>
      <dgm:spPr/>
    </dgm:pt>
    <dgm:pt modelId="{097E5885-2B0E-564C-A5DA-525A7C4D0569}" type="pres">
      <dgm:prSet presAssocID="{0F77B7A4-87A4-2048-8355-3CA4D597F7D3}" presName="parentLin" presStyleCnt="0"/>
      <dgm:spPr/>
    </dgm:pt>
    <dgm:pt modelId="{883275EB-97FF-0E4C-8DB4-F54E052A38F8}" type="pres">
      <dgm:prSet presAssocID="{0F77B7A4-87A4-2048-8355-3CA4D597F7D3}" presName="parentLeftMargin" presStyleLbl="node1" presStyleIdx="2" presStyleCnt="5"/>
      <dgm:spPr/>
      <dgm:t>
        <a:bodyPr/>
        <a:lstStyle/>
        <a:p>
          <a:endParaRPr lang="hu-HU"/>
        </a:p>
      </dgm:t>
    </dgm:pt>
    <dgm:pt modelId="{C67CD6A2-2251-154A-AC05-9CC1D563F97F}" type="pres">
      <dgm:prSet presAssocID="{0F77B7A4-87A4-2048-8355-3CA4D597F7D3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E9161E-0051-9540-A529-02CA00B36DA3}" type="pres">
      <dgm:prSet presAssocID="{0F77B7A4-87A4-2048-8355-3CA4D597F7D3}" presName="negativeSpace" presStyleCnt="0"/>
      <dgm:spPr/>
    </dgm:pt>
    <dgm:pt modelId="{D7288017-F761-2E42-9656-F0D61A00FAF0}" type="pres">
      <dgm:prSet presAssocID="{0F77B7A4-87A4-2048-8355-3CA4D597F7D3}" presName="childText" presStyleLbl="conFgAcc1" presStyleIdx="3" presStyleCnt="5">
        <dgm:presLayoutVars>
          <dgm:bulletEnabled val="1"/>
        </dgm:presLayoutVars>
      </dgm:prSet>
      <dgm:spPr>
        <a:ln>
          <a:solidFill>
            <a:srgbClr val="00B050"/>
          </a:solidFill>
        </a:ln>
      </dgm:spPr>
      <dgm:t>
        <a:bodyPr/>
        <a:lstStyle/>
        <a:p>
          <a:endParaRPr lang="hu-HU"/>
        </a:p>
      </dgm:t>
    </dgm:pt>
    <dgm:pt modelId="{02276DD6-E791-C14E-8633-04C20D21BD8C}" type="pres">
      <dgm:prSet presAssocID="{DF5034C6-73E3-CA48-A094-8DAFA1A56069}" presName="spaceBetweenRectangles" presStyleCnt="0"/>
      <dgm:spPr/>
    </dgm:pt>
    <dgm:pt modelId="{B6CB30FD-B66A-E547-99AC-7239E4DE3A14}" type="pres">
      <dgm:prSet presAssocID="{5B5D96E6-26BF-3744-A4FB-43589F603520}" presName="parentLin" presStyleCnt="0"/>
      <dgm:spPr/>
    </dgm:pt>
    <dgm:pt modelId="{BA31A2BE-B3B8-9049-8508-E0C55F244A26}" type="pres">
      <dgm:prSet presAssocID="{5B5D96E6-26BF-3744-A4FB-43589F603520}" presName="parentLeftMargin" presStyleLbl="node1" presStyleIdx="3" presStyleCnt="5"/>
      <dgm:spPr/>
      <dgm:t>
        <a:bodyPr/>
        <a:lstStyle/>
        <a:p>
          <a:endParaRPr lang="hu-HU"/>
        </a:p>
      </dgm:t>
    </dgm:pt>
    <dgm:pt modelId="{23590DC4-C2EC-684E-87C7-FC6E3ED8938F}" type="pres">
      <dgm:prSet presAssocID="{5B5D96E6-26BF-3744-A4FB-43589F60352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F6208F-1E93-FD41-9433-A09239DEC81C}" type="pres">
      <dgm:prSet presAssocID="{5B5D96E6-26BF-3744-A4FB-43589F603520}" presName="negativeSpace" presStyleCnt="0"/>
      <dgm:spPr/>
    </dgm:pt>
    <dgm:pt modelId="{7C395EB4-31BE-EC4B-848F-606FE91D7BC7}" type="pres">
      <dgm:prSet presAssocID="{5B5D96E6-26BF-3744-A4FB-43589F603520}" presName="childText" presStyleLbl="conFgAcc1" presStyleIdx="4" presStyleCnt="5">
        <dgm:presLayoutVars>
          <dgm:bulletEnabled val="1"/>
        </dgm:presLayoutVars>
      </dgm:prSet>
      <dgm:spPr>
        <a:ln>
          <a:solidFill>
            <a:srgbClr val="00B050"/>
          </a:solidFill>
        </a:ln>
      </dgm:spPr>
      <dgm:t>
        <a:bodyPr/>
        <a:lstStyle/>
        <a:p>
          <a:endParaRPr lang="hu-HU"/>
        </a:p>
      </dgm:t>
    </dgm:pt>
  </dgm:ptLst>
  <dgm:cxnLst>
    <dgm:cxn modelId="{794B4A62-6569-0146-ABDD-977F39493385}" srcId="{48D28722-8E02-6248-8E87-AD92983BA091}" destId="{0F77B7A4-87A4-2048-8355-3CA4D597F7D3}" srcOrd="3" destOrd="0" parTransId="{08397200-AE09-4642-95EA-D071A1103623}" sibTransId="{DF5034C6-73E3-CA48-A094-8DAFA1A56069}"/>
    <dgm:cxn modelId="{F30BA63C-F889-4746-97CD-0456CC3CCA1F}" srcId="{48D28722-8E02-6248-8E87-AD92983BA091}" destId="{AADEEFC0-7B8E-3944-B2DF-F681632470D8}" srcOrd="0" destOrd="0" parTransId="{F300731F-7520-AF45-84D5-16760D5A928E}" sibTransId="{2F018E97-5795-D941-B809-4EDC8C5ED252}"/>
    <dgm:cxn modelId="{BA1E1D92-98DF-4E83-BA7E-FE7E28059A06}" type="presOf" srcId="{0F77B7A4-87A4-2048-8355-3CA4D597F7D3}" destId="{883275EB-97FF-0E4C-8DB4-F54E052A38F8}" srcOrd="0" destOrd="0" presId="urn:microsoft.com/office/officeart/2005/8/layout/list1"/>
    <dgm:cxn modelId="{25D39505-FD45-4888-A542-8B0366D77C52}" type="presOf" srcId="{AADEEFC0-7B8E-3944-B2DF-F681632470D8}" destId="{A1E845E0-3383-DB47-B56D-3D07A6DF44EA}" srcOrd="0" destOrd="0" presId="urn:microsoft.com/office/officeart/2005/8/layout/list1"/>
    <dgm:cxn modelId="{194C27DE-3FF6-644B-BA57-C86B7449CFCF}" srcId="{48D28722-8E02-6248-8E87-AD92983BA091}" destId="{5B5D96E6-26BF-3744-A4FB-43589F603520}" srcOrd="4" destOrd="0" parTransId="{75FEE55A-3A97-A549-B31F-C9F1BCDD341B}" sibTransId="{23F06192-6ECE-B449-9B5F-A4A7EDBD6470}"/>
    <dgm:cxn modelId="{92935674-0215-430D-BC76-7C0D4D00664E}" type="presOf" srcId="{5B5D96E6-26BF-3744-A4FB-43589F603520}" destId="{BA31A2BE-B3B8-9049-8508-E0C55F244A26}" srcOrd="0" destOrd="0" presId="urn:microsoft.com/office/officeart/2005/8/layout/list1"/>
    <dgm:cxn modelId="{524B0E28-C8F3-4F0B-8A2F-98AA4451D60D}" type="presOf" srcId="{0F77B7A4-87A4-2048-8355-3CA4D597F7D3}" destId="{C67CD6A2-2251-154A-AC05-9CC1D563F97F}" srcOrd="1" destOrd="0" presId="urn:microsoft.com/office/officeart/2005/8/layout/list1"/>
    <dgm:cxn modelId="{C1F53790-103D-4EC8-93D6-16D517C780CC}" type="presOf" srcId="{3804DC4B-6710-ED45-A030-599BE4B0D0FC}" destId="{7E142488-A532-9B49-B46C-13179CDEFE69}" srcOrd="0" destOrd="0" presId="urn:microsoft.com/office/officeart/2005/8/layout/list1"/>
    <dgm:cxn modelId="{35E7311D-AC91-41F2-A161-A52597104D58}" type="presOf" srcId="{5B5D96E6-26BF-3744-A4FB-43589F603520}" destId="{23590DC4-C2EC-684E-87C7-FC6E3ED8938F}" srcOrd="1" destOrd="0" presId="urn:microsoft.com/office/officeart/2005/8/layout/list1"/>
    <dgm:cxn modelId="{E0B42487-B707-4DCD-87FF-25E0FF1C8C7B}" type="presOf" srcId="{3804DC4B-6710-ED45-A030-599BE4B0D0FC}" destId="{CF9B06CD-78A1-5748-BA0E-E89BEAA5940E}" srcOrd="1" destOrd="0" presId="urn:microsoft.com/office/officeart/2005/8/layout/list1"/>
    <dgm:cxn modelId="{37579568-E8AF-4A02-9EA0-1A28604AF95C}" type="presOf" srcId="{4A13D432-2972-5343-9C6A-A676F19CC563}" destId="{4788FD63-169F-E340-B84D-55A5289072A9}" srcOrd="0" destOrd="0" presId="urn:microsoft.com/office/officeart/2005/8/layout/list1"/>
    <dgm:cxn modelId="{41740716-B2EA-4487-98CE-062723D55533}" type="presOf" srcId="{4A13D432-2972-5343-9C6A-A676F19CC563}" destId="{62F0ACF7-5347-314F-AF60-AC85B90A049C}" srcOrd="1" destOrd="0" presId="urn:microsoft.com/office/officeart/2005/8/layout/list1"/>
    <dgm:cxn modelId="{6867889D-9392-8640-8C0A-D5571D022BF4}" srcId="{48D28722-8E02-6248-8E87-AD92983BA091}" destId="{4A13D432-2972-5343-9C6A-A676F19CC563}" srcOrd="2" destOrd="0" parTransId="{B47A0E29-BC80-724F-AE87-5EF78DACC046}" sibTransId="{B89C99F3-A78A-7B41-BE65-5E9FFC3A158B}"/>
    <dgm:cxn modelId="{1DB6A5A5-AB81-054B-AA81-564854E1E5D0}" srcId="{48D28722-8E02-6248-8E87-AD92983BA091}" destId="{3804DC4B-6710-ED45-A030-599BE4B0D0FC}" srcOrd="1" destOrd="0" parTransId="{30A22FCB-E05B-204E-9F33-C64147DC0B27}" sibTransId="{13EC54C1-1EE5-B847-8393-E2C230DB1DC1}"/>
    <dgm:cxn modelId="{B2AC1207-51FF-4490-B89C-7608AA404851}" type="presOf" srcId="{AADEEFC0-7B8E-3944-B2DF-F681632470D8}" destId="{39B4B799-55CF-A345-A390-77B5161735EB}" srcOrd="1" destOrd="0" presId="urn:microsoft.com/office/officeart/2005/8/layout/list1"/>
    <dgm:cxn modelId="{599837EE-87E4-47EC-AA5A-2000033CD4D0}" type="presOf" srcId="{48D28722-8E02-6248-8E87-AD92983BA091}" destId="{5219EF1A-D059-0042-883C-42DD6EBB1842}" srcOrd="0" destOrd="0" presId="urn:microsoft.com/office/officeart/2005/8/layout/list1"/>
    <dgm:cxn modelId="{07CF2F88-40EF-4571-A002-F35B580DFF87}" type="presParOf" srcId="{5219EF1A-D059-0042-883C-42DD6EBB1842}" destId="{0965BF76-DE05-054D-8528-93696337F919}" srcOrd="0" destOrd="0" presId="urn:microsoft.com/office/officeart/2005/8/layout/list1"/>
    <dgm:cxn modelId="{49944E7A-5248-474C-B4FD-5A689D405D31}" type="presParOf" srcId="{0965BF76-DE05-054D-8528-93696337F919}" destId="{A1E845E0-3383-DB47-B56D-3D07A6DF44EA}" srcOrd="0" destOrd="0" presId="urn:microsoft.com/office/officeart/2005/8/layout/list1"/>
    <dgm:cxn modelId="{D66112EA-D527-408A-BAE5-7618CF94B5A1}" type="presParOf" srcId="{0965BF76-DE05-054D-8528-93696337F919}" destId="{39B4B799-55CF-A345-A390-77B5161735EB}" srcOrd="1" destOrd="0" presId="urn:microsoft.com/office/officeart/2005/8/layout/list1"/>
    <dgm:cxn modelId="{6DCCD0EF-932F-470F-AEAC-EB0273CAD5FF}" type="presParOf" srcId="{5219EF1A-D059-0042-883C-42DD6EBB1842}" destId="{7874F4F2-01C0-CD46-BA94-7FFBCE6BF824}" srcOrd="1" destOrd="0" presId="urn:microsoft.com/office/officeart/2005/8/layout/list1"/>
    <dgm:cxn modelId="{64168E1C-08C9-4F0C-AEFA-71D056EF52F9}" type="presParOf" srcId="{5219EF1A-D059-0042-883C-42DD6EBB1842}" destId="{E847ACF3-6ACF-0447-8E8D-6B6F6ABB6E64}" srcOrd="2" destOrd="0" presId="urn:microsoft.com/office/officeart/2005/8/layout/list1"/>
    <dgm:cxn modelId="{3AE2C93D-250B-4A9C-A416-AE563A049CEB}" type="presParOf" srcId="{5219EF1A-D059-0042-883C-42DD6EBB1842}" destId="{42A5B17B-7F37-E94B-9A74-18C333743E40}" srcOrd="3" destOrd="0" presId="urn:microsoft.com/office/officeart/2005/8/layout/list1"/>
    <dgm:cxn modelId="{253011AD-E887-4071-B7EE-0AD77A13B8C3}" type="presParOf" srcId="{5219EF1A-D059-0042-883C-42DD6EBB1842}" destId="{6CDB415B-4566-EA40-B82C-4FF346425A04}" srcOrd="4" destOrd="0" presId="urn:microsoft.com/office/officeart/2005/8/layout/list1"/>
    <dgm:cxn modelId="{9790F7E5-6C54-412D-A8F2-2E2A238E42C9}" type="presParOf" srcId="{6CDB415B-4566-EA40-B82C-4FF346425A04}" destId="{7E142488-A532-9B49-B46C-13179CDEFE69}" srcOrd="0" destOrd="0" presId="urn:microsoft.com/office/officeart/2005/8/layout/list1"/>
    <dgm:cxn modelId="{3BB3A795-CBD4-4937-9A91-303F90BA946D}" type="presParOf" srcId="{6CDB415B-4566-EA40-B82C-4FF346425A04}" destId="{CF9B06CD-78A1-5748-BA0E-E89BEAA5940E}" srcOrd="1" destOrd="0" presId="urn:microsoft.com/office/officeart/2005/8/layout/list1"/>
    <dgm:cxn modelId="{6F7248B8-5AF1-4311-8D1E-65BA26699650}" type="presParOf" srcId="{5219EF1A-D059-0042-883C-42DD6EBB1842}" destId="{82783080-B6FC-B841-BAB0-DA64AD8BC24F}" srcOrd="5" destOrd="0" presId="urn:microsoft.com/office/officeart/2005/8/layout/list1"/>
    <dgm:cxn modelId="{0708BB51-847F-4C10-B396-02C07FD24E62}" type="presParOf" srcId="{5219EF1A-D059-0042-883C-42DD6EBB1842}" destId="{769E600A-6517-B344-8200-F89FBC70A2EF}" srcOrd="6" destOrd="0" presId="urn:microsoft.com/office/officeart/2005/8/layout/list1"/>
    <dgm:cxn modelId="{191989B6-D16E-44A5-8D9A-CFC1E3434764}" type="presParOf" srcId="{5219EF1A-D059-0042-883C-42DD6EBB1842}" destId="{F752C6E2-7E66-A84A-A6F3-24D617B01159}" srcOrd="7" destOrd="0" presId="urn:microsoft.com/office/officeart/2005/8/layout/list1"/>
    <dgm:cxn modelId="{65F78C5D-3C79-4FC1-9858-53FA25818536}" type="presParOf" srcId="{5219EF1A-D059-0042-883C-42DD6EBB1842}" destId="{D62562CD-1F5F-8847-8247-F6CB8E620CC4}" srcOrd="8" destOrd="0" presId="urn:microsoft.com/office/officeart/2005/8/layout/list1"/>
    <dgm:cxn modelId="{47B5C065-EB37-4F39-AE9C-B7150E2726D8}" type="presParOf" srcId="{D62562CD-1F5F-8847-8247-F6CB8E620CC4}" destId="{4788FD63-169F-E340-B84D-55A5289072A9}" srcOrd="0" destOrd="0" presId="urn:microsoft.com/office/officeart/2005/8/layout/list1"/>
    <dgm:cxn modelId="{F91F4AD8-111E-4851-99DF-BEE5B926711B}" type="presParOf" srcId="{D62562CD-1F5F-8847-8247-F6CB8E620CC4}" destId="{62F0ACF7-5347-314F-AF60-AC85B90A049C}" srcOrd="1" destOrd="0" presId="urn:microsoft.com/office/officeart/2005/8/layout/list1"/>
    <dgm:cxn modelId="{7F1B8FBB-9BB8-4E78-8706-2CF496811CB4}" type="presParOf" srcId="{5219EF1A-D059-0042-883C-42DD6EBB1842}" destId="{E9EE870C-A287-0E4C-B8ED-FF7721F83822}" srcOrd="9" destOrd="0" presId="urn:microsoft.com/office/officeart/2005/8/layout/list1"/>
    <dgm:cxn modelId="{32237487-A6DC-4918-A575-FFCE24EF698D}" type="presParOf" srcId="{5219EF1A-D059-0042-883C-42DD6EBB1842}" destId="{43F6C653-3852-0A41-89B5-508D554CA729}" srcOrd="10" destOrd="0" presId="urn:microsoft.com/office/officeart/2005/8/layout/list1"/>
    <dgm:cxn modelId="{5D43BD02-F943-4FDD-84B6-74DFF4600262}" type="presParOf" srcId="{5219EF1A-D059-0042-883C-42DD6EBB1842}" destId="{9C6D876D-2A4A-9E45-B83C-7775417D7040}" srcOrd="11" destOrd="0" presId="urn:microsoft.com/office/officeart/2005/8/layout/list1"/>
    <dgm:cxn modelId="{942F8C3D-E790-4851-A421-3C30A503E6F9}" type="presParOf" srcId="{5219EF1A-D059-0042-883C-42DD6EBB1842}" destId="{097E5885-2B0E-564C-A5DA-525A7C4D0569}" srcOrd="12" destOrd="0" presId="urn:microsoft.com/office/officeart/2005/8/layout/list1"/>
    <dgm:cxn modelId="{2A869D54-366B-4995-96B9-21E2509B6C3E}" type="presParOf" srcId="{097E5885-2B0E-564C-A5DA-525A7C4D0569}" destId="{883275EB-97FF-0E4C-8DB4-F54E052A38F8}" srcOrd="0" destOrd="0" presId="urn:microsoft.com/office/officeart/2005/8/layout/list1"/>
    <dgm:cxn modelId="{FD435EAD-232F-48FF-A0D5-AEE15F4E6EC4}" type="presParOf" srcId="{097E5885-2B0E-564C-A5DA-525A7C4D0569}" destId="{C67CD6A2-2251-154A-AC05-9CC1D563F97F}" srcOrd="1" destOrd="0" presId="urn:microsoft.com/office/officeart/2005/8/layout/list1"/>
    <dgm:cxn modelId="{17952275-73C2-489B-B7F2-34C6EF7C9CE6}" type="presParOf" srcId="{5219EF1A-D059-0042-883C-42DD6EBB1842}" destId="{04E9161E-0051-9540-A529-02CA00B36DA3}" srcOrd="13" destOrd="0" presId="urn:microsoft.com/office/officeart/2005/8/layout/list1"/>
    <dgm:cxn modelId="{2C39A7F8-35A5-4877-9F6C-3E8E02277081}" type="presParOf" srcId="{5219EF1A-D059-0042-883C-42DD6EBB1842}" destId="{D7288017-F761-2E42-9656-F0D61A00FAF0}" srcOrd="14" destOrd="0" presId="urn:microsoft.com/office/officeart/2005/8/layout/list1"/>
    <dgm:cxn modelId="{09A3D683-5A03-4056-B060-00017EB475B8}" type="presParOf" srcId="{5219EF1A-D059-0042-883C-42DD6EBB1842}" destId="{02276DD6-E791-C14E-8633-04C20D21BD8C}" srcOrd="15" destOrd="0" presId="urn:microsoft.com/office/officeart/2005/8/layout/list1"/>
    <dgm:cxn modelId="{AC574600-370C-4928-B343-50CAC366D3D8}" type="presParOf" srcId="{5219EF1A-D059-0042-883C-42DD6EBB1842}" destId="{B6CB30FD-B66A-E547-99AC-7239E4DE3A14}" srcOrd="16" destOrd="0" presId="urn:microsoft.com/office/officeart/2005/8/layout/list1"/>
    <dgm:cxn modelId="{F724D187-BF13-4624-82D5-B6ECB7025895}" type="presParOf" srcId="{B6CB30FD-B66A-E547-99AC-7239E4DE3A14}" destId="{BA31A2BE-B3B8-9049-8508-E0C55F244A26}" srcOrd="0" destOrd="0" presId="urn:microsoft.com/office/officeart/2005/8/layout/list1"/>
    <dgm:cxn modelId="{5D09897E-5489-4CDE-A4D8-9F820D50DFC5}" type="presParOf" srcId="{B6CB30FD-B66A-E547-99AC-7239E4DE3A14}" destId="{23590DC4-C2EC-684E-87C7-FC6E3ED8938F}" srcOrd="1" destOrd="0" presId="urn:microsoft.com/office/officeart/2005/8/layout/list1"/>
    <dgm:cxn modelId="{1F9B8083-9CB5-497D-B82D-47A37C4908DB}" type="presParOf" srcId="{5219EF1A-D059-0042-883C-42DD6EBB1842}" destId="{8AF6208F-1E93-FD41-9433-A09239DEC81C}" srcOrd="17" destOrd="0" presId="urn:microsoft.com/office/officeart/2005/8/layout/list1"/>
    <dgm:cxn modelId="{C814156C-3B4D-4036-9AB8-2F16A1F82BF4}" type="presParOf" srcId="{5219EF1A-D059-0042-883C-42DD6EBB1842}" destId="{7C395EB4-31BE-EC4B-848F-606FE91D7BC7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7288017-F761-2E42-9656-F0D61A00FAF0}">
      <dsp:nvSpPr>
        <dsp:cNvPr id="0" name=""/>
        <dsp:cNvSpPr/>
      </dsp:nvSpPr>
      <dsp:spPr>
        <a:xfrm>
          <a:off x="0" y="463421"/>
          <a:ext cx="5486669" cy="680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7CD6A2-2251-154A-AC05-9CC1D563F97F}">
      <dsp:nvSpPr>
        <dsp:cNvPr id="0" name=""/>
        <dsp:cNvSpPr/>
      </dsp:nvSpPr>
      <dsp:spPr>
        <a:xfrm>
          <a:off x="274333" y="64901"/>
          <a:ext cx="3840668" cy="797040"/>
        </a:xfrm>
        <a:prstGeom prst="roundRect">
          <a:avLst/>
        </a:prstGeom>
        <a:solidFill>
          <a:srgbClr val="6699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5168" tIns="0" rIns="14516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chemeClr val="bg1"/>
              </a:solidFill>
            </a:rPr>
            <a:t>1. </a:t>
          </a:r>
          <a:r>
            <a:rPr lang="en-US" sz="2400" b="1" kern="1200" dirty="0" err="1" smtClean="0">
              <a:solidFill>
                <a:schemeClr val="bg1"/>
              </a:solidFill>
            </a:rPr>
            <a:t>Kognitív</a:t>
          </a:r>
          <a:r>
            <a:rPr lang="en-US" sz="2400" b="1" kern="1200" dirty="0" smtClean="0">
              <a:solidFill>
                <a:schemeClr val="bg1"/>
              </a:solidFill>
            </a:rPr>
            <a:t> (</a:t>
          </a:r>
          <a:r>
            <a:rPr lang="en-US" sz="2400" b="1" kern="1200" dirty="0" err="1" smtClean="0">
              <a:solidFill>
                <a:schemeClr val="bg1"/>
              </a:solidFill>
            </a:rPr>
            <a:t>tudás</a:t>
          </a:r>
          <a:r>
            <a:rPr lang="en-US" sz="2400" b="1" kern="1200" dirty="0" smtClean="0">
              <a:solidFill>
                <a:schemeClr val="bg1"/>
              </a:solidFill>
            </a:rPr>
            <a:t>)</a:t>
          </a:r>
          <a:endParaRPr lang="en-US" sz="2400" b="1" kern="1200" dirty="0">
            <a:solidFill>
              <a:schemeClr val="bg1"/>
            </a:solidFill>
          </a:endParaRPr>
        </a:p>
      </dsp:txBody>
      <dsp:txXfrm>
        <a:off x="274333" y="64901"/>
        <a:ext cx="3840668" cy="797040"/>
      </dsp:txXfrm>
    </dsp:sp>
    <dsp:sp modelId="{734D9C57-CF9A-E34B-8944-9F6B17FFB438}">
      <dsp:nvSpPr>
        <dsp:cNvPr id="0" name=""/>
        <dsp:cNvSpPr/>
      </dsp:nvSpPr>
      <dsp:spPr>
        <a:xfrm>
          <a:off x="0" y="1688142"/>
          <a:ext cx="5486669" cy="680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405597"/>
              <a:satOff val="-4658"/>
              <a:lumOff val="-1960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DDAD46-BA86-8941-9116-822F370EC7CD}">
      <dsp:nvSpPr>
        <dsp:cNvPr id="0" name=""/>
        <dsp:cNvSpPr/>
      </dsp:nvSpPr>
      <dsp:spPr>
        <a:xfrm>
          <a:off x="274333" y="1289621"/>
          <a:ext cx="3840668" cy="797040"/>
        </a:xfrm>
        <a:prstGeom prst="roundRect">
          <a:avLst/>
        </a:prstGeom>
        <a:solidFill>
          <a:srgbClr val="92D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5168" tIns="0" rIns="14516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333333"/>
              </a:solidFill>
            </a:rPr>
            <a:t>2. </a:t>
          </a:r>
          <a:r>
            <a:rPr lang="en-US" sz="2400" b="1" kern="1200" dirty="0" err="1" smtClean="0">
              <a:solidFill>
                <a:srgbClr val="333333"/>
              </a:solidFill>
            </a:rPr>
            <a:t>Affektív</a:t>
          </a:r>
          <a:r>
            <a:rPr lang="en-US" sz="2400" b="1" kern="1200" dirty="0" smtClean="0">
              <a:solidFill>
                <a:srgbClr val="333333"/>
              </a:solidFill>
            </a:rPr>
            <a:t>  (</a:t>
          </a:r>
          <a:r>
            <a:rPr lang="en-US" sz="2400" b="1" kern="1200" dirty="0" err="1" smtClean="0">
              <a:solidFill>
                <a:srgbClr val="333333"/>
              </a:solidFill>
            </a:rPr>
            <a:t>érzelmi</a:t>
          </a:r>
          <a:r>
            <a:rPr lang="en-US" sz="2400" b="1" kern="1200" dirty="0" smtClean="0">
              <a:solidFill>
                <a:srgbClr val="333333"/>
              </a:solidFill>
            </a:rPr>
            <a:t>)</a:t>
          </a:r>
          <a:endParaRPr lang="en-US" sz="2400" b="1" kern="1200" dirty="0">
            <a:solidFill>
              <a:srgbClr val="333333"/>
            </a:solidFill>
          </a:endParaRPr>
        </a:p>
      </dsp:txBody>
      <dsp:txXfrm>
        <a:off x="274333" y="1289621"/>
        <a:ext cx="3840668" cy="797040"/>
      </dsp:txXfrm>
    </dsp:sp>
    <dsp:sp modelId="{7C395EB4-31BE-EC4B-848F-606FE91D7BC7}">
      <dsp:nvSpPr>
        <dsp:cNvPr id="0" name=""/>
        <dsp:cNvSpPr/>
      </dsp:nvSpPr>
      <dsp:spPr>
        <a:xfrm>
          <a:off x="0" y="2912862"/>
          <a:ext cx="5486669" cy="680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811193"/>
              <a:satOff val="-9316"/>
              <a:lumOff val="-3921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590DC4-C2EC-684E-87C7-FC6E3ED8938F}">
      <dsp:nvSpPr>
        <dsp:cNvPr id="0" name=""/>
        <dsp:cNvSpPr/>
      </dsp:nvSpPr>
      <dsp:spPr>
        <a:xfrm>
          <a:off x="274333" y="2514342"/>
          <a:ext cx="3840668" cy="797040"/>
        </a:xfrm>
        <a:prstGeom prst="roundRect">
          <a:avLst/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5168" tIns="0" rIns="145168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333333"/>
              </a:solidFill>
            </a:rPr>
            <a:t>3. </a:t>
          </a:r>
          <a:r>
            <a:rPr lang="en-US" sz="2400" b="1" kern="1200" dirty="0" err="1" smtClean="0">
              <a:solidFill>
                <a:srgbClr val="333333"/>
              </a:solidFill>
            </a:rPr>
            <a:t>Pszichomotoros</a:t>
          </a:r>
          <a:r>
            <a:rPr lang="en-US" sz="2400" b="1" kern="1200" dirty="0" smtClean="0">
              <a:solidFill>
                <a:srgbClr val="333333"/>
              </a:solidFill>
            </a:rPr>
            <a:t> (</a:t>
          </a:r>
          <a:r>
            <a:rPr lang="en-US" sz="2400" b="1" kern="1200" dirty="0" err="1" smtClean="0">
              <a:solidFill>
                <a:srgbClr val="333333"/>
              </a:solidFill>
            </a:rPr>
            <a:t>fizikai</a:t>
          </a:r>
          <a:r>
            <a:rPr lang="hu-HU" sz="2400" b="1" kern="1200" dirty="0" smtClean="0">
              <a:solidFill>
                <a:srgbClr val="333333"/>
              </a:solidFill>
            </a:rPr>
            <a:t>, mozgás</a:t>
          </a:r>
          <a:r>
            <a:rPr lang="en-US" sz="2400" b="1" kern="1200" dirty="0" smtClean="0">
              <a:solidFill>
                <a:srgbClr val="333333"/>
              </a:solidFill>
            </a:rPr>
            <a:t>) </a:t>
          </a:r>
          <a:endParaRPr lang="en-US" sz="2400" b="1" kern="1200" dirty="0">
            <a:solidFill>
              <a:srgbClr val="333333"/>
            </a:solidFill>
          </a:endParaRPr>
        </a:p>
      </dsp:txBody>
      <dsp:txXfrm>
        <a:off x="274333" y="2514342"/>
        <a:ext cx="3840668" cy="79704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C395EB4-31BE-EC4B-848F-606FE91D7BC7}">
      <dsp:nvSpPr>
        <dsp:cNvPr id="0" name=""/>
        <dsp:cNvSpPr/>
      </dsp:nvSpPr>
      <dsp:spPr>
        <a:xfrm>
          <a:off x="0" y="213493"/>
          <a:ext cx="6851758" cy="163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590DC4-C2EC-684E-87C7-FC6E3ED8938F}">
      <dsp:nvSpPr>
        <dsp:cNvPr id="0" name=""/>
        <dsp:cNvSpPr/>
      </dsp:nvSpPr>
      <dsp:spPr>
        <a:xfrm>
          <a:off x="326589" y="501531"/>
          <a:ext cx="4434115" cy="1085561"/>
        </a:xfrm>
        <a:prstGeom prst="roundRect">
          <a:avLst/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1286" tIns="0" rIns="181286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>
              <a:solidFill>
                <a:srgbClr val="333333"/>
              </a:solidFill>
            </a:rPr>
            <a:t>Az eredeti modellben n</a:t>
          </a:r>
          <a:r>
            <a:rPr lang="en-US" sz="2400" kern="1200" dirty="0" err="1" smtClean="0">
              <a:solidFill>
                <a:srgbClr val="333333"/>
              </a:solidFill>
            </a:rPr>
            <a:t>incsenek</a:t>
          </a:r>
          <a:r>
            <a:rPr lang="en-US" sz="2400" kern="1200" dirty="0" smtClean="0">
              <a:solidFill>
                <a:srgbClr val="333333"/>
              </a:solidFill>
            </a:rPr>
            <a:t> </a:t>
          </a:r>
          <a:r>
            <a:rPr lang="en-US" sz="2400" kern="1200" dirty="0" err="1" smtClean="0">
              <a:solidFill>
                <a:srgbClr val="333333"/>
              </a:solidFill>
            </a:rPr>
            <a:t>alkategóriák</a:t>
          </a:r>
          <a:r>
            <a:rPr lang="hu-HU" sz="2400" kern="1200" dirty="0" smtClean="0">
              <a:solidFill>
                <a:srgbClr val="333333"/>
              </a:solidFill>
            </a:rPr>
            <a:t>!</a:t>
          </a:r>
          <a:r>
            <a:rPr lang="en-US" sz="2400" kern="1200" dirty="0" smtClean="0">
              <a:solidFill>
                <a:srgbClr val="333333"/>
              </a:solidFill>
            </a:rPr>
            <a:t> </a:t>
          </a:r>
          <a:endParaRPr lang="en-US" sz="2400" kern="1200" dirty="0">
            <a:solidFill>
              <a:srgbClr val="333333"/>
            </a:solidFill>
          </a:endParaRPr>
        </a:p>
      </dsp:txBody>
      <dsp:txXfrm>
        <a:off x="326589" y="501531"/>
        <a:ext cx="4434115" cy="1085561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847ACF3-6ACF-0447-8E8D-6B6F6ABB6E64}">
      <dsp:nvSpPr>
        <dsp:cNvPr id="0" name=""/>
        <dsp:cNvSpPr/>
      </dsp:nvSpPr>
      <dsp:spPr>
        <a:xfrm>
          <a:off x="0" y="324106"/>
          <a:ext cx="6459853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0C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B4B799-55CF-A345-A390-77B5161735EB}">
      <dsp:nvSpPr>
        <dsp:cNvPr id="0" name=""/>
        <dsp:cNvSpPr/>
      </dsp:nvSpPr>
      <dsp:spPr>
        <a:xfrm>
          <a:off x="322992" y="102706"/>
          <a:ext cx="4521897" cy="442800"/>
        </a:xfrm>
        <a:prstGeom prst="roundRect">
          <a:avLst/>
        </a:prstGeom>
        <a:solidFill>
          <a:srgbClr val="6699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917" tIns="0" rIns="170917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/>
            <a:t>6. </a:t>
          </a:r>
          <a:r>
            <a:rPr lang="en-US" sz="2400" kern="1200" dirty="0" err="1" smtClean="0"/>
            <a:t>Értékelés</a:t>
          </a:r>
          <a:endParaRPr lang="en-US" sz="2400" kern="1200" dirty="0"/>
        </a:p>
      </dsp:txBody>
      <dsp:txXfrm>
        <a:off x="322992" y="102706"/>
        <a:ext cx="4521897" cy="442800"/>
      </dsp:txXfrm>
    </dsp:sp>
    <dsp:sp modelId="{1A0801EC-59F7-FE4E-AC05-EDF3A61FF079}">
      <dsp:nvSpPr>
        <dsp:cNvPr id="0" name=""/>
        <dsp:cNvSpPr/>
      </dsp:nvSpPr>
      <dsp:spPr>
        <a:xfrm>
          <a:off x="0" y="1004507"/>
          <a:ext cx="6459853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0C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1BFDDA-895E-AD45-BE26-FD28A45EFFD3}">
      <dsp:nvSpPr>
        <dsp:cNvPr id="0" name=""/>
        <dsp:cNvSpPr/>
      </dsp:nvSpPr>
      <dsp:spPr>
        <a:xfrm>
          <a:off x="322992" y="783107"/>
          <a:ext cx="4521897" cy="442800"/>
        </a:xfrm>
        <a:prstGeom prst="roundRect">
          <a:avLst/>
        </a:prstGeom>
        <a:solidFill>
          <a:srgbClr val="6699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917" tIns="0" rIns="170917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/>
            <a:t>5. </a:t>
          </a:r>
          <a:r>
            <a:rPr lang="en-US" sz="2400" kern="1200" dirty="0" err="1" smtClean="0"/>
            <a:t>Szintézis</a:t>
          </a:r>
          <a:endParaRPr lang="en-US" sz="2400" kern="1200" dirty="0"/>
        </a:p>
      </dsp:txBody>
      <dsp:txXfrm>
        <a:off x="322992" y="783107"/>
        <a:ext cx="4521897" cy="442800"/>
      </dsp:txXfrm>
    </dsp:sp>
    <dsp:sp modelId="{769E600A-6517-B344-8200-F89FBC70A2EF}">
      <dsp:nvSpPr>
        <dsp:cNvPr id="0" name=""/>
        <dsp:cNvSpPr/>
      </dsp:nvSpPr>
      <dsp:spPr>
        <a:xfrm>
          <a:off x="0" y="1684907"/>
          <a:ext cx="6459853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0C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9B06CD-78A1-5748-BA0E-E89BEAA5940E}">
      <dsp:nvSpPr>
        <dsp:cNvPr id="0" name=""/>
        <dsp:cNvSpPr/>
      </dsp:nvSpPr>
      <dsp:spPr>
        <a:xfrm>
          <a:off x="322992" y="1463507"/>
          <a:ext cx="4521897" cy="442800"/>
        </a:xfrm>
        <a:prstGeom prst="roundRect">
          <a:avLst/>
        </a:prstGeom>
        <a:solidFill>
          <a:srgbClr val="6699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917" tIns="0" rIns="170917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/>
            <a:t>4. </a:t>
          </a:r>
          <a:r>
            <a:rPr lang="en-US" sz="2400" kern="1200" dirty="0" err="1" smtClean="0"/>
            <a:t>Elemzés</a:t>
          </a:r>
          <a:endParaRPr lang="en-US" sz="2400" kern="1200" dirty="0"/>
        </a:p>
      </dsp:txBody>
      <dsp:txXfrm>
        <a:off x="322992" y="1463507"/>
        <a:ext cx="4521897" cy="442800"/>
      </dsp:txXfrm>
    </dsp:sp>
    <dsp:sp modelId="{43F6C653-3852-0A41-89B5-508D554CA729}">
      <dsp:nvSpPr>
        <dsp:cNvPr id="0" name=""/>
        <dsp:cNvSpPr/>
      </dsp:nvSpPr>
      <dsp:spPr>
        <a:xfrm>
          <a:off x="0" y="2365307"/>
          <a:ext cx="6459853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0C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F0ACF7-5347-314F-AF60-AC85B90A049C}">
      <dsp:nvSpPr>
        <dsp:cNvPr id="0" name=""/>
        <dsp:cNvSpPr/>
      </dsp:nvSpPr>
      <dsp:spPr>
        <a:xfrm>
          <a:off x="322992" y="2143907"/>
          <a:ext cx="4521897" cy="442800"/>
        </a:xfrm>
        <a:prstGeom prst="roundRect">
          <a:avLst/>
        </a:prstGeom>
        <a:solidFill>
          <a:srgbClr val="6699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917" tIns="0" rIns="170917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/>
            <a:t>3. </a:t>
          </a:r>
          <a:r>
            <a:rPr lang="en-US" sz="2400" kern="1200" dirty="0" err="1" smtClean="0"/>
            <a:t>Alkalmazás</a:t>
          </a:r>
          <a:endParaRPr lang="en-US" sz="2400" kern="1200" dirty="0"/>
        </a:p>
      </dsp:txBody>
      <dsp:txXfrm>
        <a:off x="322992" y="2143907"/>
        <a:ext cx="4521897" cy="442800"/>
      </dsp:txXfrm>
    </dsp:sp>
    <dsp:sp modelId="{D7288017-F761-2E42-9656-F0D61A00FAF0}">
      <dsp:nvSpPr>
        <dsp:cNvPr id="0" name=""/>
        <dsp:cNvSpPr/>
      </dsp:nvSpPr>
      <dsp:spPr>
        <a:xfrm>
          <a:off x="0" y="3045707"/>
          <a:ext cx="6459853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0C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7CD6A2-2251-154A-AC05-9CC1D563F97F}">
      <dsp:nvSpPr>
        <dsp:cNvPr id="0" name=""/>
        <dsp:cNvSpPr/>
      </dsp:nvSpPr>
      <dsp:spPr>
        <a:xfrm>
          <a:off x="322992" y="2824307"/>
          <a:ext cx="4521897" cy="442800"/>
        </a:xfrm>
        <a:prstGeom prst="roundRect">
          <a:avLst/>
        </a:prstGeom>
        <a:solidFill>
          <a:srgbClr val="6699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917" tIns="0" rIns="170917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/>
            <a:t>2. </a:t>
          </a:r>
          <a:r>
            <a:rPr lang="en-US" sz="2400" kern="1200" dirty="0" err="1" smtClean="0"/>
            <a:t>Megértés</a:t>
          </a:r>
          <a:endParaRPr lang="en-US" sz="2400" kern="1200" dirty="0"/>
        </a:p>
      </dsp:txBody>
      <dsp:txXfrm>
        <a:off x="322992" y="2824307"/>
        <a:ext cx="4521897" cy="442800"/>
      </dsp:txXfrm>
    </dsp:sp>
    <dsp:sp modelId="{7C395EB4-31BE-EC4B-848F-606FE91D7BC7}">
      <dsp:nvSpPr>
        <dsp:cNvPr id="0" name=""/>
        <dsp:cNvSpPr/>
      </dsp:nvSpPr>
      <dsp:spPr>
        <a:xfrm>
          <a:off x="0" y="3726107"/>
          <a:ext cx="6459853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0C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590DC4-C2EC-684E-87C7-FC6E3ED8938F}">
      <dsp:nvSpPr>
        <dsp:cNvPr id="0" name=""/>
        <dsp:cNvSpPr/>
      </dsp:nvSpPr>
      <dsp:spPr>
        <a:xfrm>
          <a:off x="322992" y="3504707"/>
          <a:ext cx="4521897" cy="442800"/>
        </a:xfrm>
        <a:prstGeom prst="roundRect">
          <a:avLst/>
        </a:prstGeom>
        <a:solidFill>
          <a:srgbClr val="6699FF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917" tIns="0" rIns="170917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/>
            <a:t>1. </a:t>
          </a:r>
          <a:r>
            <a:rPr lang="en-US" sz="2400" kern="1200" dirty="0" err="1" smtClean="0"/>
            <a:t>Tudás</a:t>
          </a:r>
          <a:r>
            <a:rPr lang="en-US" sz="2400" kern="1200" dirty="0" smtClean="0"/>
            <a:t> (</a:t>
          </a:r>
          <a:r>
            <a:rPr lang="en-US" sz="2400" kern="1200" dirty="0" err="1" smtClean="0"/>
            <a:t>megismerés</a:t>
          </a:r>
          <a:r>
            <a:rPr lang="en-US" sz="2400" kern="1200" dirty="0" smtClean="0"/>
            <a:t>)</a:t>
          </a:r>
          <a:endParaRPr lang="en-US" sz="2400" kern="1200" dirty="0"/>
        </a:p>
      </dsp:txBody>
      <dsp:txXfrm>
        <a:off x="322992" y="3504707"/>
        <a:ext cx="4521897" cy="44280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847ACF3-6ACF-0447-8E8D-6B6F6ABB6E64}">
      <dsp:nvSpPr>
        <dsp:cNvPr id="0" name=""/>
        <dsp:cNvSpPr/>
      </dsp:nvSpPr>
      <dsp:spPr>
        <a:xfrm>
          <a:off x="0" y="357739"/>
          <a:ext cx="5939717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B05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B4B799-55CF-A345-A390-77B5161735EB}">
      <dsp:nvSpPr>
        <dsp:cNvPr id="0" name=""/>
        <dsp:cNvSpPr/>
      </dsp:nvSpPr>
      <dsp:spPr>
        <a:xfrm>
          <a:off x="296985" y="92059"/>
          <a:ext cx="4157801" cy="531360"/>
        </a:xfrm>
        <a:prstGeom prst="roundRect">
          <a:avLst/>
        </a:prstGeom>
        <a:solidFill>
          <a:srgbClr val="8EC87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7155" tIns="0" rIns="157155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2060"/>
              </a:solidFill>
            </a:rPr>
            <a:t>5. </a:t>
          </a:r>
          <a:r>
            <a:rPr lang="en-US" sz="2400" b="1" kern="1200" dirty="0" err="1" smtClean="0">
              <a:solidFill>
                <a:srgbClr val="002060"/>
              </a:solidFill>
            </a:rPr>
            <a:t>Viselkedési</a:t>
          </a:r>
          <a:r>
            <a:rPr lang="en-US" sz="2400" b="1" kern="1200" dirty="0" smtClean="0">
              <a:solidFill>
                <a:srgbClr val="002060"/>
              </a:solidFill>
            </a:rPr>
            <a:t> </a:t>
          </a:r>
          <a:r>
            <a:rPr lang="en-US" sz="2400" b="1" kern="1200" dirty="0" err="1" smtClean="0">
              <a:solidFill>
                <a:srgbClr val="002060"/>
              </a:solidFill>
            </a:rPr>
            <a:t>jellemzővé</a:t>
          </a:r>
          <a:r>
            <a:rPr lang="en-US" sz="2400" b="1" kern="1200" dirty="0" smtClean="0">
              <a:solidFill>
                <a:srgbClr val="002060"/>
              </a:solidFill>
            </a:rPr>
            <a:t> </a:t>
          </a:r>
          <a:r>
            <a:rPr lang="en-US" sz="2400" b="1" kern="1200" dirty="0" err="1" smtClean="0">
              <a:solidFill>
                <a:srgbClr val="002060"/>
              </a:solidFill>
            </a:rPr>
            <a:t>válás</a:t>
          </a:r>
          <a:r>
            <a:rPr lang="en-US" sz="2400" b="1" kern="1200" dirty="0" smtClean="0">
              <a:solidFill>
                <a:srgbClr val="002060"/>
              </a:solidFill>
            </a:rPr>
            <a:t>, </a:t>
          </a:r>
          <a:r>
            <a:rPr lang="en-US" sz="2400" b="1" kern="1200" dirty="0" err="1" smtClean="0">
              <a:solidFill>
                <a:srgbClr val="002060"/>
              </a:solidFill>
            </a:rPr>
            <a:t>megerősítés</a:t>
          </a:r>
          <a:endParaRPr lang="en-US" sz="2400" b="1" kern="1200" dirty="0">
            <a:solidFill>
              <a:srgbClr val="002060"/>
            </a:solidFill>
          </a:endParaRPr>
        </a:p>
      </dsp:txBody>
      <dsp:txXfrm>
        <a:off x="296985" y="92059"/>
        <a:ext cx="4157801" cy="531360"/>
      </dsp:txXfrm>
    </dsp:sp>
    <dsp:sp modelId="{769E600A-6517-B344-8200-F89FBC70A2EF}">
      <dsp:nvSpPr>
        <dsp:cNvPr id="0" name=""/>
        <dsp:cNvSpPr/>
      </dsp:nvSpPr>
      <dsp:spPr>
        <a:xfrm>
          <a:off x="0" y="1174219"/>
          <a:ext cx="5939717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B05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9B06CD-78A1-5748-BA0E-E89BEAA5940E}">
      <dsp:nvSpPr>
        <dsp:cNvPr id="0" name=""/>
        <dsp:cNvSpPr/>
      </dsp:nvSpPr>
      <dsp:spPr>
        <a:xfrm>
          <a:off x="296985" y="908539"/>
          <a:ext cx="4157801" cy="531360"/>
        </a:xfrm>
        <a:prstGeom prst="roundRect">
          <a:avLst/>
        </a:prstGeom>
        <a:solidFill>
          <a:srgbClr val="8EC87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7155" tIns="0" rIns="157155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2060"/>
              </a:solidFill>
            </a:rPr>
            <a:t>4. </a:t>
          </a:r>
          <a:r>
            <a:rPr lang="en-US" sz="2400" b="1" kern="1200" dirty="0" err="1" smtClean="0">
              <a:solidFill>
                <a:srgbClr val="002060"/>
              </a:solidFill>
            </a:rPr>
            <a:t>Szintetizálás</a:t>
          </a:r>
          <a:endParaRPr lang="en-US" sz="2400" b="1" kern="1200" dirty="0">
            <a:solidFill>
              <a:srgbClr val="002060"/>
            </a:solidFill>
          </a:endParaRPr>
        </a:p>
      </dsp:txBody>
      <dsp:txXfrm>
        <a:off x="296985" y="908539"/>
        <a:ext cx="4157801" cy="531360"/>
      </dsp:txXfrm>
    </dsp:sp>
    <dsp:sp modelId="{43F6C653-3852-0A41-89B5-508D554CA729}">
      <dsp:nvSpPr>
        <dsp:cNvPr id="0" name=""/>
        <dsp:cNvSpPr/>
      </dsp:nvSpPr>
      <dsp:spPr>
        <a:xfrm>
          <a:off x="0" y="1990699"/>
          <a:ext cx="5939717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B05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F0ACF7-5347-314F-AF60-AC85B90A049C}">
      <dsp:nvSpPr>
        <dsp:cNvPr id="0" name=""/>
        <dsp:cNvSpPr/>
      </dsp:nvSpPr>
      <dsp:spPr>
        <a:xfrm>
          <a:off x="296985" y="1725019"/>
          <a:ext cx="4157801" cy="531360"/>
        </a:xfrm>
        <a:prstGeom prst="roundRect">
          <a:avLst/>
        </a:prstGeom>
        <a:solidFill>
          <a:srgbClr val="8EC87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7155" tIns="0" rIns="157155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2060"/>
              </a:solidFill>
            </a:rPr>
            <a:t>3. </a:t>
          </a:r>
          <a:r>
            <a:rPr lang="en-US" sz="2400" b="1" kern="1200" dirty="0" err="1" smtClean="0">
              <a:solidFill>
                <a:srgbClr val="002060"/>
              </a:solidFill>
            </a:rPr>
            <a:t>Értékelés</a:t>
          </a:r>
          <a:endParaRPr lang="en-US" sz="2400" b="1" kern="1200" dirty="0">
            <a:solidFill>
              <a:srgbClr val="002060"/>
            </a:solidFill>
          </a:endParaRPr>
        </a:p>
      </dsp:txBody>
      <dsp:txXfrm>
        <a:off x="296985" y="1725019"/>
        <a:ext cx="4157801" cy="531360"/>
      </dsp:txXfrm>
    </dsp:sp>
    <dsp:sp modelId="{D7288017-F761-2E42-9656-F0D61A00FAF0}">
      <dsp:nvSpPr>
        <dsp:cNvPr id="0" name=""/>
        <dsp:cNvSpPr/>
      </dsp:nvSpPr>
      <dsp:spPr>
        <a:xfrm>
          <a:off x="0" y="2807179"/>
          <a:ext cx="5939717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B05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7CD6A2-2251-154A-AC05-9CC1D563F97F}">
      <dsp:nvSpPr>
        <dsp:cNvPr id="0" name=""/>
        <dsp:cNvSpPr/>
      </dsp:nvSpPr>
      <dsp:spPr>
        <a:xfrm>
          <a:off x="296985" y="2541499"/>
          <a:ext cx="4157801" cy="531360"/>
        </a:xfrm>
        <a:prstGeom prst="roundRect">
          <a:avLst/>
        </a:prstGeom>
        <a:solidFill>
          <a:srgbClr val="8EC87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7155" tIns="0" rIns="157155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2060"/>
              </a:solidFill>
            </a:rPr>
            <a:t>2. </a:t>
          </a:r>
          <a:r>
            <a:rPr lang="en-US" sz="2400" b="1" kern="1200" dirty="0" err="1" smtClean="0">
              <a:solidFill>
                <a:srgbClr val="002060"/>
              </a:solidFill>
            </a:rPr>
            <a:t>Válaszolás</a:t>
          </a:r>
          <a:r>
            <a:rPr lang="en-US" sz="2400" b="1" kern="1200" dirty="0" smtClean="0">
              <a:solidFill>
                <a:srgbClr val="002060"/>
              </a:solidFill>
            </a:rPr>
            <a:t> (</a:t>
          </a:r>
          <a:r>
            <a:rPr lang="en-US" sz="2400" b="1" kern="1200" dirty="0" err="1" smtClean="0">
              <a:solidFill>
                <a:srgbClr val="002060"/>
              </a:solidFill>
            </a:rPr>
            <a:t>reagál</a:t>
          </a:r>
          <a:r>
            <a:rPr lang="hu-HU" sz="2400" b="1" kern="1200" dirty="0" smtClean="0">
              <a:solidFill>
                <a:srgbClr val="002060"/>
              </a:solidFill>
            </a:rPr>
            <a:t>ás</a:t>
          </a:r>
          <a:r>
            <a:rPr lang="en-US" sz="2400" b="1" kern="1200" dirty="0" smtClean="0">
              <a:solidFill>
                <a:srgbClr val="002060"/>
              </a:solidFill>
            </a:rPr>
            <a:t>)</a:t>
          </a:r>
          <a:endParaRPr lang="en-US" sz="2400" b="1" kern="1200" dirty="0">
            <a:solidFill>
              <a:srgbClr val="002060"/>
            </a:solidFill>
          </a:endParaRPr>
        </a:p>
      </dsp:txBody>
      <dsp:txXfrm>
        <a:off x="296985" y="2541499"/>
        <a:ext cx="4157801" cy="531360"/>
      </dsp:txXfrm>
    </dsp:sp>
    <dsp:sp modelId="{7C395EB4-31BE-EC4B-848F-606FE91D7BC7}">
      <dsp:nvSpPr>
        <dsp:cNvPr id="0" name=""/>
        <dsp:cNvSpPr/>
      </dsp:nvSpPr>
      <dsp:spPr>
        <a:xfrm>
          <a:off x="0" y="3623659"/>
          <a:ext cx="5939717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B050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590DC4-C2EC-684E-87C7-FC6E3ED8938F}">
      <dsp:nvSpPr>
        <dsp:cNvPr id="0" name=""/>
        <dsp:cNvSpPr/>
      </dsp:nvSpPr>
      <dsp:spPr>
        <a:xfrm>
          <a:off x="296985" y="3357979"/>
          <a:ext cx="4157801" cy="531360"/>
        </a:xfrm>
        <a:prstGeom prst="roundRect">
          <a:avLst/>
        </a:prstGeom>
        <a:solidFill>
          <a:srgbClr val="8EC87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7155" tIns="0" rIns="157155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2060"/>
              </a:solidFill>
            </a:rPr>
            <a:t>1. </a:t>
          </a:r>
          <a:r>
            <a:rPr lang="en-US" sz="2400" b="1" kern="1200" dirty="0" err="1" smtClean="0">
              <a:solidFill>
                <a:srgbClr val="002060"/>
              </a:solidFill>
            </a:rPr>
            <a:t>Befogadás</a:t>
          </a:r>
          <a:r>
            <a:rPr lang="en-US" sz="2400" b="1" kern="1200" dirty="0" smtClean="0">
              <a:solidFill>
                <a:srgbClr val="002060"/>
              </a:solidFill>
            </a:rPr>
            <a:t> (</a:t>
          </a:r>
          <a:r>
            <a:rPr lang="en-US" sz="2400" b="1" kern="1200" dirty="0" err="1" smtClean="0">
              <a:solidFill>
                <a:srgbClr val="002060"/>
              </a:solidFill>
            </a:rPr>
            <a:t>figyelem</a:t>
          </a:r>
          <a:r>
            <a:rPr lang="en-US" sz="2400" b="1" kern="1200" dirty="0" smtClean="0">
              <a:solidFill>
                <a:srgbClr val="002060"/>
              </a:solidFill>
            </a:rPr>
            <a:t>)</a:t>
          </a:r>
          <a:endParaRPr lang="en-US" sz="2400" b="1" kern="1200" dirty="0">
            <a:solidFill>
              <a:srgbClr val="002060"/>
            </a:solidFill>
          </a:endParaRPr>
        </a:p>
      </dsp:txBody>
      <dsp:txXfrm>
        <a:off x="296985" y="3357979"/>
        <a:ext cx="4157801" cy="5313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3" Type="http://schemas.microsoft.com/office/2006/relationships/legacyDiagramText" Target="legacyDiagramText3.bin"/><Relationship Id="rId2" Type="http://schemas.microsoft.com/office/2006/relationships/legacyDiagramText" Target="legacyDiagramText2.bin"/><Relationship Id="rId1" Type="http://schemas.microsoft.com/office/2006/relationships/legacyDiagramText" Target="legacyDiagramText1.bin"/><Relationship Id="rId5" Type="http://schemas.microsoft.com/office/2006/relationships/legacyDiagramText" Target="legacyDiagramText5.bin"/><Relationship Id="rId4" Type="http://schemas.microsoft.com/office/2006/relationships/legacyDiagramText" Target="legacyDiagramText4.bin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image" Target="../media/image6.emf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image" Target="../media/image12.emf"/><Relationship Id="rId4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C74563-04DD-4728-8CC2-AD790F9B42D8}" type="datetimeFigureOut">
              <a:rPr lang="de-DE" sz="600" smtClean="0">
                <a:latin typeface="Arial" pitchFamily="34" charset="0"/>
                <a:cs typeface="Arial" pitchFamily="34" charset="0"/>
              </a:rPr>
              <a:pPr/>
              <a:t>12.03.2013</a:t>
            </a:fld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1C5C09-A086-41B5-AB93-0D519CF90B74}" type="slidenum">
              <a:rPr lang="de-DE" sz="6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49629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fld id="{F8D99BBB-DA91-45F1-94E4-DDBAA3887247}" type="datetimeFigureOut">
              <a:rPr lang="de-DE" smtClean="0"/>
              <a:pPr/>
              <a:t>12.03.201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fld id="{CEC6974F-3C9C-44C7-8DD3-1BF295C9E94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8673204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07963" indent="-206375" algn="l" defTabSz="914400" rtl="0" eaLnBrk="1" latinLnBrk="0" hangingPunct="1">
      <a:buClr>
        <a:srgbClr val="F21C0A"/>
      </a:buClr>
      <a:buFont typeface="Wingdings" pitchFamily="2" charset="2"/>
      <a:buChar char="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209550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412750" indent="-201613" algn="l" defTabSz="914400" rtl="0" eaLnBrk="1" latinLnBrk="0" hangingPunct="1">
      <a:buClr>
        <a:srgbClr val="F21C0A"/>
      </a:buClr>
      <a:buFont typeface="Wingdings" pitchFamily="2" charset="2"/>
      <a:buChar char="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414338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Polo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Polo" pitchFamily="2" charset="0"/>
              </a:defRPr>
            </a:lvl9pPr>
          </a:lstStyle>
          <a:p>
            <a:pPr eaLnBrk="1" hangingPunct="1"/>
            <a:fld id="{A968E6EF-7113-4B3C-9E4D-D5C55A2D4A43}" type="slidenum">
              <a:rPr lang="de-DE" sz="1200">
                <a:solidFill>
                  <a:srgbClr val="000000"/>
                </a:solidFill>
                <a:latin typeface="Arial" pitchFamily="34" charset="0"/>
              </a:rPr>
              <a:pPr eaLnBrk="1" hangingPunct="1"/>
              <a:t>2</a:t>
            </a:fld>
            <a:endParaRPr lang="de-DE" sz="12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20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201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sv-SE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hu-HU" smtClean="0">
              <a:latin typeface="Arial" pitchFamily="34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6BC74C9-4813-4D60-9BD1-D1D164F2733D}" type="slidenum">
              <a:rPr lang="en-US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3606800"/>
            <a:ext cx="6705600" cy="1181100"/>
          </a:xfrm>
        </p:spPr>
        <p:txBody>
          <a:bodyPr anchor="b" anchorCtr="0"/>
          <a:lstStyle>
            <a:lvl1pPr>
              <a:defRPr>
                <a:solidFill>
                  <a:srgbClr val="000099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600" y="5035550"/>
            <a:ext cx="6705600" cy="457200"/>
          </a:xfrm>
        </p:spPr>
        <p:txBody>
          <a:bodyPr>
            <a:noAutofit/>
          </a:bodyPr>
          <a:lstStyle>
            <a:lvl1pPr marL="0" indent="0" algn="l">
              <a:lnSpc>
                <a:spcPts val="1800"/>
              </a:lnSpc>
              <a:buNone/>
              <a:defRPr sz="1400">
                <a:solidFill>
                  <a:srgbClr val="7676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5" name="Szövegdoboz 4"/>
          <p:cNvSpPr txBox="1"/>
          <p:nvPr userDrawn="1"/>
        </p:nvSpPr>
        <p:spPr>
          <a:xfrm>
            <a:off x="8178800" y="6324600"/>
            <a:ext cx="965200" cy="400110"/>
          </a:xfrm>
          <a:prstGeom prst="rect">
            <a:avLst/>
          </a:prstGeom>
          <a:solidFill>
            <a:srgbClr val="00CC99"/>
          </a:solidFill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</a:pPr>
            <a:r>
              <a:rPr lang="hu-HU" sz="140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ff-Active</a:t>
            </a:r>
            <a:endParaRPr lang="hu-HU" sz="1400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" name="Egyenes összekötő nyíllal 5"/>
          <p:cNvCxnSpPr/>
          <p:nvPr userDrawn="1"/>
        </p:nvCxnSpPr>
        <p:spPr>
          <a:xfrm>
            <a:off x="609600" y="0"/>
            <a:ext cx="0" cy="584200"/>
          </a:xfrm>
          <a:prstGeom prst="straightConnector1">
            <a:avLst/>
          </a:prstGeom>
          <a:ln w="19050">
            <a:solidFill>
              <a:srgbClr val="0070C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gyenes összekötő nyíllal 7"/>
          <p:cNvCxnSpPr/>
          <p:nvPr userDrawn="1"/>
        </p:nvCxnSpPr>
        <p:spPr>
          <a:xfrm>
            <a:off x="0" y="584200"/>
            <a:ext cx="609600" cy="0"/>
          </a:xfrm>
          <a:prstGeom prst="straightConnector1">
            <a:avLst/>
          </a:prstGeom>
          <a:ln w="19050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940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>
              <a:buFont typeface="Arial" pitchFamily="34" charset="0"/>
              <a:buChar char="•"/>
              <a:defRPr/>
            </a:lvl2pPr>
            <a:lvl3pPr>
              <a:buFont typeface="Arial" pitchFamily="34" charset="0"/>
              <a:buNone/>
              <a:defRPr/>
            </a:lvl3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3528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96000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940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7924800" cy="421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8" name="Szövegdoboz 7"/>
          <p:cNvSpPr txBox="1"/>
          <p:nvPr userDrawn="1"/>
        </p:nvSpPr>
        <p:spPr>
          <a:xfrm>
            <a:off x="609599" y="6121400"/>
            <a:ext cx="965200" cy="400110"/>
          </a:xfrm>
          <a:prstGeom prst="rect">
            <a:avLst/>
          </a:prstGeom>
          <a:solidFill>
            <a:srgbClr val="00CC99"/>
          </a:solidFill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</a:pPr>
            <a:r>
              <a:rPr lang="hu-HU" sz="140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ff-Active</a:t>
            </a:r>
            <a:endParaRPr lang="hu-HU" sz="1400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1" name="Egyenes összekötő nyíllal 10"/>
          <p:cNvCxnSpPr/>
          <p:nvPr userDrawn="1"/>
        </p:nvCxnSpPr>
        <p:spPr>
          <a:xfrm>
            <a:off x="-1" y="6324600"/>
            <a:ext cx="609600" cy="0"/>
          </a:xfrm>
          <a:prstGeom prst="straightConnector1">
            <a:avLst/>
          </a:prstGeom>
          <a:ln w="19050">
            <a:solidFill>
              <a:srgbClr val="00B05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8178801" y="6223000"/>
            <a:ext cx="427036" cy="19050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749DBC-5EFD-468C-9F9F-C80FB4A03599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0" name="Egyenes összekötő nyíllal 9"/>
          <p:cNvCxnSpPr/>
          <p:nvPr userDrawn="1"/>
        </p:nvCxnSpPr>
        <p:spPr>
          <a:xfrm flipH="1">
            <a:off x="8737600" y="6324600"/>
            <a:ext cx="406400" cy="0"/>
          </a:xfrm>
          <a:prstGeom prst="straightConnector1">
            <a:avLst/>
          </a:prstGeom>
          <a:ln w="19050">
            <a:solidFill>
              <a:srgbClr val="0070C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églalap 11"/>
          <p:cNvSpPr/>
          <p:nvPr userDrawn="1"/>
        </p:nvSpPr>
        <p:spPr>
          <a:xfrm>
            <a:off x="1574799" y="6223000"/>
            <a:ext cx="68072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 » 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E36C0A"/>
                </a:solidFill>
                <a:effectLst/>
                <a:latin typeface="Lucida Handwriting" pitchFamily="66" charset="0"/>
                <a:ea typeface="Times New Roman" pitchFamily="18" charset="0"/>
                <a:cs typeface="Arial" pitchFamily="34" charset="0"/>
              </a:rPr>
              <a:t>eff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Arial" pitchFamily="34" charset="0"/>
              </a:rPr>
              <a:t>ective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Arial" pitchFamily="34" charset="0"/>
              </a:rPr>
              <a:t>  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 » » » » »  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FF000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eff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icient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 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 » » » » » »  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30036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eff</a:t>
            </a:r>
            <a:r>
              <a:rPr kumimoji="0" lang="hu-HU" sz="1000" b="0" i="0" u="none" strike="noStrike" cap="none" normalizeH="0" baseline="0" dirty="0" err="1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ortless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Lucida Handwriting" pitchFamily="66" charset="0"/>
                <a:ea typeface="Times New Roman" pitchFamily="18" charset="0"/>
                <a:cs typeface="Tahoma" pitchFamily="34" charset="0"/>
              </a:rPr>
              <a:t>  </a:t>
            </a:r>
            <a:r>
              <a:rPr kumimoji="0" lang="hu-HU" sz="1000" b="0" i="0" u="none" strike="noStrike" cap="none" normalizeH="0" baseline="0" dirty="0" smtClean="0">
                <a:ln>
                  <a:noFill/>
                </a:ln>
                <a:solidFill>
                  <a:srgbClr val="000080"/>
                </a:solidFill>
                <a:effectLst/>
                <a:latin typeface="Tahoma" pitchFamily="34" charset="0"/>
                <a:ea typeface="Times New Roman" pitchFamily="18" charset="0"/>
                <a:cs typeface="Tahoma" pitchFamily="34" charset="0"/>
              </a:rPr>
              <a:t>» » »» </a:t>
            </a:r>
            <a:endParaRPr kumimoji="0" lang="hu-H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6" r:id="rId4"/>
    <p:sldLayoutId id="2147483653" r:id="rId5"/>
    <p:sldLayoutId id="2147483654" r:id="rId6"/>
    <p:sldLayoutId id="2147483655" r:id="rId7"/>
  </p:sldLayoutIdLst>
  <p:hf hdr="0" ftr="0" dt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00009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3100"/>
        </a:lnSpc>
        <a:spcBef>
          <a:spcPct val="0"/>
        </a:spcBef>
        <a:buFont typeface="Arial" pitchFamily="34" charset="0"/>
        <a:buNone/>
        <a:defRPr lang="de-DE" sz="2400" kern="1200" dirty="0" smtClean="0">
          <a:solidFill>
            <a:srgbClr val="000099"/>
          </a:solidFill>
          <a:latin typeface="+mj-lt"/>
          <a:ea typeface="+mj-ea"/>
          <a:cs typeface="+mj-cs"/>
        </a:defRPr>
      </a:lvl1pPr>
      <a:lvl2pPr marL="207963" indent="-206375" algn="l" defTabSz="914400" rtl="0" eaLnBrk="1" latinLnBrk="0" hangingPunct="1">
        <a:lnSpc>
          <a:spcPts val="3100"/>
        </a:lnSpc>
        <a:spcBef>
          <a:spcPct val="0"/>
        </a:spcBef>
        <a:buClr>
          <a:srgbClr val="002060"/>
        </a:buClr>
        <a:buFont typeface="Arial" pitchFamily="34" charset="0"/>
        <a:buChar char="•"/>
        <a:defRPr lang="de-DE" sz="2000" kern="1200" dirty="0" smtClean="0">
          <a:solidFill>
            <a:srgbClr val="000099"/>
          </a:solidFill>
          <a:latin typeface="+mj-lt"/>
          <a:ea typeface="+mj-ea"/>
          <a:cs typeface="+mj-cs"/>
        </a:defRPr>
      </a:lvl2pPr>
      <a:lvl3pPr marL="209550" indent="0" algn="l" defTabSz="914400" rtl="0" eaLnBrk="1" latinLnBrk="0" hangingPunct="1">
        <a:lnSpc>
          <a:spcPts val="3100"/>
        </a:lnSpc>
        <a:spcBef>
          <a:spcPct val="0"/>
        </a:spcBef>
        <a:buFont typeface="Arial" pitchFamily="34" charset="0"/>
        <a:buNone/>
        <a:defRPr lang="de-DE" sz="1800" kern="1200" dirty="0" smtClean="0">
          <a:solidFill>
            <a:srgbClr val="000099"/>
          </a:solidFill>
          <a:latin typeface="+mj-lt"/>
          <a:ea typeface="+mj-ea"/>
          <a:cs typeface="+mj-cs"/>
        </a:defRPr>
      </a:lvl3pPr>
      <a:lvl4pPr marL="412750" indent="-201613" algn="l" defTabSz="914400" rtl="0" eaLnBrk="1" latinLnBrk="0" hangingPunct="1">
        <a:lnSpc>
          <a:spcPts val="3100"/>
        </a:lnSpc>
        <a:spcBef>
          <a:spcPct val="0"/>
        </a:spcBef>
        <a:buClr>
          <a:srgbClr val="002060"/>
        </a:buClr>
        <a:buFont typeface="Arial" pitchFamily="34" charset="0"/>
        <a:buChar char="–"/>
        <a:defRPr lang="de-DE" sz="1600" kern="1200" dirty="0" smtClean="0">
          <a:solidFill>
            <a:srgbClr val="000099"/>
          </a:solidFill>
          <a:latin typeface="+mj-lt"/>
          <a:ea typeface="+mj-ea"/>
          <a:cs typeface="+mj-cs"/>
        </a:defRPr>
      </a:lvl4pPr>
      <a:lvl5pPr marL="414338" indent="0" algn="l" defTabSz="914400" rtl="0" eaLnBrk="1" latinLnBrk="0" hangingPunct="1">
        <a:lnSpc>
          <a:spcPts val="3100"/>
        </a:lnSpc>
        <a:spcBef>
          <a:spcPct val="0"/>
        </a:spcBef>
        <a:buFont typeface="Arial" pitchFamily="34" charset="0"/>
        <a:buNone/>
        <a:defRPr lang="de-DE" sz="1400" kern="1200" baseline="0" dirty="0" smtClean="0">
          <a:solidFill>
            <a:srgbClr val="000099"/>
          </a:solidFill>
          <a:latin typeface="+mj-lt"/>
          <a:ea typeface="+mj-ea"/>
          <a:cs typeface="+mj-cs"/>
        </a:defRPr>
      </a:lvl5pPr>
      <a:lvl6pPr marL="6175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file:///C:\Users\Z2378\Documents\Solutions\NPD_rajzok.vsd\Rajz\~EFTM_Project_Modell_2\Folyamat.20" TargetMode="External"/><Relationship Id="rId3" Type="http://schemas.openxmlformats.org/officeDocument/2006/relationships/oleObject" Target="file:///C:\Users\Z2378\Documents\Solutions\NPD_rajzok.vsd\Rajz\~EFTM_Project_Modell_2\Folyamat.23" TargetMode="External"/><Relationship Id="rId7" Type="http://schemas.openxmlformats.org/officeDocument/2006/relationships/oleObject" Target="file:///C:\Users\Z2378\Documents\Solutions\NPD_rajzok.vsd\Rajz\~EFTM_Project_Modell_2\Folyamat.7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oleObject" Target="file:///C:\Users\Z2378\Documents\Solutions\NPD_rajzok.vsd\Rajz\~EFTM_Project_Modell_2\Folyamat.2" TargetMode="External"/><Relationship Id="rId5" Type="http://schemas.openxmlformats.org/officeDocument/2006/relationships/oleObject" Target="file:///C:\Users\Z2378\Documents\Solutions\NPD_rajzok.vsd\Rajz\~EFTM_Project_Modell_2\Folyamat.17" TargetMode="External"/><Relationship Id="rId4" Type="http://schemas.openxmlformats.org/officeDocument/2006/relationships/oleObject" Target="file:///C:\Users\Z2378\Documents\Solutions\NPD_rajzok.vsd\Rajz\~EFTM_Project_Modell_2\Folyamat.24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2378\Documents\Solutions\NPD_rajzok.vsd\Rajz\~EFTM_Project_Modell_2\KIJEL&#214;L&#201;S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oleObject" Target="file:///C:\Users\Z2378\Documents\Solutions\NPD_rajzok.vsd\Rajz\~EFTM_Project_Modell_2\Folyamat.4" TargetMode="External"/><Relationship Id="rId5" Type="http://schemas.openxmlformats.org/officeDocument/2006/relationships/oleObject" Target="file:///C:\Users\Z2378\Documents\Solutions\NPD_rajzok.vsd\Rajz\~EFTM_Project_Modell_2\Sheet.25" TargetMode="External"/><Relationship Id="rId4" Type="http://schemas.openxmlformats.org/officeDocument/2006/relationships/oleObject" Target="file:///C:\Users\Z2378\Documents\Solutions\NPD_rajzok.vsd\Rajz\~EFTM_Project_Modell_2\Folyamat.25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609600" y="533400"/>
            <a:ext cx="8432800" cy="774700"/>
          </a:xfrm>
        </p:spPr>
        <p:txBody>
          <a:bodyPr anchor="t"/>
          <a:lstStyle/>
          <a:p>
            <a:pPr marL="203200" indent="-203200">
              <a:spcAft>
                <a:spcPts val="1200"/>
              </a:spcAft>
            </a:pPr>
            <a:r>
              <a:rPr lang="hu-HU" dirty="0" smtClean="0"/>
              <a:t>Tudás-menedzsment projekt </a:t>
            </a:r>
            <a:r>
              <a:rPr lang="hu-HU" dirty="0" smtClean="0"/>
              <a:t>környezetben </a:t>
            </a:r>
            <a:endParaRPr lang="en-US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>
          <a:xfrm>
            <a:off x="355600" y="3429000"/>
            <a:ext cx="4470400" cy="457200"/>
          </a:xfrm>
        </p:spPr>
        <p:txBody>
          <a:bodyPr/>
          <a:lstStyle/>
          <a:p>
            <a:pPr algn="ctr"/>
            <a:r>
              <a:rPr lang="hu-HU" sz="2400" dirty="0" smtClean="0">
                <a:solidFill>
                  <a:srgbClr val="002060"/>
                </a:solidFill>
              </a:rPr>
              <a:t>Fenyősi Zoltán</a:t>
            </a:r>
          </a:p>
          <a:p>
            <a:pPr algn="ctr"/>
            <a:r>
              <a:rPr lang="hu-HU" sz="1800" dirty="0" smtClean="0">
                <a:solidFill>
                  <a:srgbClr val="002060"/>
                </a:solidFill>
              </a:rPr>
              <a:t>IPMA B projekt menedzser</a:t>
            </a:r>
            <a:br>
              <a:rPr lang="hu-HU" sz="1800" dirty="0" smtClean="0">
                <a:solidFill>
                  <a:srgbClr val="002060"/>
                </a:solidFill>
              </a:rPr>
            </a:br>
            <a:endParaRPr lang="hu-HU" sz="1800" dirty="0" smtClean="0">
              <a:solidFill>
                <a:srgbClr val="002060"/>
              </a:solidFill>
            </a:endParaRPr>
          </a:p>
          <a:p>
            <a:pPr algn="ctr"/>
            <a:endParaRPr lang="hu-HU" sz="1800" dirty="0" smtClean="0">
              <a:solidFill>
                <a:srgbClr val="002060"/>
              </a:solidFill>
            </a:endParaRPr>
          </a:p>
          <a:p>
            <a:pPr algn="ctr"/>
            <a:endParaRPr lang="hu-HU" sz="1800" dirty="0" smtClean="0">
              <a:solidFill>
                <a:srgbClr val="002060"/>
              </a:solidFill>
            </a:endParaRPr>
          </a:p>
          <a:p>
            <a:pPr algn="ctr"/>
            <a:endParaRPr lang="hu-HU" sz="1800" dirty="0" smtClean="0">
              <a:solidFill>
                <a:srgbClr val="002060"/>
              </a:solidFill>
            </a:endParaRPr>
          </a:p>
          <a:p>
            <a:pPr algn="ctr"/>
            <a:endParaRPr lang="hu-HU" sz="1600" dirty="0" smtClean="0">
              <a:solidFill>
                <a:srgbClr val="002060"/>
              </a:solidFill>
            </a:endParaRPr>
          </a:p>
          <a:p>
            <a:pPr algn="ctr"/>
            <a:r>
              <a:rPr lang="hu-HU" sz="1600" dirty="0" err="1" smtClean="0">
                <a:solidFill>
                  <a:srgbClr val="002060"/>
                </a:solidFill>
              </a:rPr>
              <a:t>Eff-Active</a:t>
            </a:r>
            <a:r>
              <a:rPr lang="hu-HU" sz="1600" dirty="0" smtClean="0">
                <a:solidFill>
                  <a:srgbClr val="002060"/>
                </a:solidFill>
              </a:rPr>
              <a:t> Consulting</a:t>
            </a:r>
          </a:p>
          <a:p>
            <a:pPr algn="ctr"/>
            <a:r>
              <a:rPr lang="hu-HU" sz="1600" dirty="0" err="1" smtClean="0">
                <a:solidFill>
                  <a:srgbClr val="002060"/>
                </a:solidFill>
              </a:rPr>
              <a:t>zfenyosi</a:t>
            </a:r>
            <a:r>
              <a:rPr lang="hu-HU" sz="1600" dirty="0" smtClean="0">
                <a:solidFill>
                  <a:srgbClr val="002060"/>
                </a:solidFill>
              </a:rPr>
              <a:t>@</a:t>
            </a:r>
            <a:r>
              <a:rPr lang="hu-HU" sz="1600" dirty="0" err="1" smtClean="0">
                <a:solidFill>
                  <a:srgbClr val="002060"/>
                </a:solidFill>
              </a:rPr>
              <a:t>t-online.hu</a:t>
            </a:r>
            <a:endParaRPr lang="hu-HU" sz="1600" dirty="0" smtClean="0">
              <a:solidFill>
                <a:srgbClr val="002060"/>
              </a:solidFill>
            </a:endParaRPr>
          </a:p>
          <a:p>
            <a:pPr algn="ctr"/>
            <a:endParaRPr lang="hu-HU" sz="1600" dirty="0" smtClean="0">
              <a:solidFill>
                <a:srgbClr val="002060"/>
              </a:solidFill>
            </a:endParaRPr>
          </a:p>
          <a:p>
            <a:pPr algn="ctr"/>
            <a:r>
              <a:rPr lang="hu-HU" sz="1600" dirty="0" smtClean="0">
                <a:solidFill>
                  <a:srgbClr val="002060"/>
                </a:solidFill>
              </a:rPr>
              <a:t>m</a:t>
            </a:r>
            <a:r>
              <a:rPr lang="hu-HU" sz="1600" dirty="0" smtClean="0">
                <a:solidFill>
                  <a:srgbClr val="002060"/>
                </a:solidFill>
              </a:rPr>
              <a:t>obil</a:t>
            </a:r>
            <a:r>
              <a:rPr lang="hu-HU" sz="1600" dirty="0" smtClean="0">
                <a:solidFill>
                  <a:srgbClr val="002060"/>
                </a:solidFill>
              </a:rPr>
              <a:t>: +36 20 3139543</a:t>
            </a:r>
            <a:endParaRPr lang="de-DE" sz="1600" dirty="0">
              <a:solidFill>
                <a:srgbClr val="002060"/>
              </a:solidFill>
            </a:endParaRPr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78400" y="1193799"/>
            <a:ext cx="3200400" cy="473790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 11"/>
          <p:cNvGraphicFramePr/>
          <p:nvPr/>
        </p:nvGraphicFramePr>
        <p:xfrm>
          <a:off x="1240808" y="1861215"/>
          <a:ext cx="6459853" cy="42068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Cím 14"/>
          <p:cNvSpPr txBox="1">
            <a:spLocks/>
          </p:cNvSpPr>
          <p:nvPr/>
        </p:nvSpPr>
        <p:spPr>
          <a:xfrm>
            <a:off x="609600" y="22860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ts val="3100"/>
              </a:lnSpc>
              <a:spcBef>
                <a:spcPct val="0"/>
              </a:spcBef>
            </a:pPr>
            <a:r>
              <a:rPr lang="hu-HU" sz="2800" b="1" dirty="0" smtClean="0">
                <a:solidFill>
                  <a:srgbClr val="000099"/>
                </a:solidFill>
                <a:latin typeface="+mj-lt"/>
                <a:ea typeface="+mj-ea"/>
                <a:cs typeface="+mj-cs"/>
              </a:rPr>
              <a:t>A Bloom taxonómia kognitív (</a:t>
            </a:r>
            <a:r>
              <a:rPr lang="hu-HU" sz="2800" b="1" dirty="0" err="1" smtClean="0">
                <a:solidFill>
                  <a:srgbClr val="000099"/>
                </a:solidFill>
                <a:latin typeface="+mj-lt"/>
                <a:ea typeface="+mj-ea"/>
                <a:cs typeface="+mj-cs"/>
              </a:rPr>
              <a:t>Knowledge</a:t>
            </a:r>
            <a:r>
              <a:rPr lang="hu-HU" sz="2800" b="1" dirty="0" smtClean="0">
                <a:solidFill>
                  <a:srgbClr val="000099"/>
                </a:solidFill>
                <a:latin typeface="+mj-lt"/>
                <a:ea typeface="+mj-ea"/>
                <a:cs typeface="+mj-cs"/>
              </a:rPr>
              <a:t>) tartománya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hu-HU" sz="2800" b="1" i="0" u="none" strike="noStrike" kern="120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718267" y="750701"/>
            <a:ext cx="8077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 anchor="ctr"/>
          <a:lstStyle/>
          <a:p>
            <a:pPr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hu-HU" sz="2000" b="1" dirty="0" smtClean="0">
                <a:solidFill>
                  <a:srgbClr val="000099"/>
                </a:solidFill>
              </a:rPr>
              <a:t>Részleteiben David </a:t>
            </a:r>
            <a:r>
              <a:rPr lang="hu-HU" sz="2000" b="1" dirty="0" err="1" smtClean="0">
                <a:solidFill>
                  <a:srgbClr val="000099"/>
                </a:solidFill>
              </a:rPr>
              <a:t>Krathwohl</a:t>
            </a:r>
            <a:r>
              <a:rPr lang="hu-HU" sz="2000" b="1" dirty="0" smtClean="0">
                <a:solidFill>
                  <a:srgbClr val="000099"/>
                </a:solidFill>
              </a:rPr>
              <a:t> dolgozta ki!</a:t>
            </a:r>
            <a:endParaRPr lang="en-US" sz="2000" b="1" dirty="0">
              <a:solidFill>
                <a:srgbClr val="000099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aphicFrame>
        <p:nvGraphicFramePr>
          <p:cNvPr id="12" name="Diagram 11"/>
          <p:cNvGraphicFramePr/>
          <p:nvPr/>
        </p:nvGraphicFramePr>
        <p:xfrm>
          <a:off x="1524000" y="2006599"/>
          <a:ext cx="5939717" cy="41693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Cím 14"/>
          <p:cNvSpPr txBox="1">
            <a:spLocks/>
          </p:cNvSpPr>
          <p:nvPr/>
        </p:nvSpPr>
        <p:spPr>
          <a:xfrm>
            <a:off x="609600" y="22860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ts val="3100"/>
              </a:lnSpc>
              <a:spcBef>
                <a:spcPct val="0"/>
              </a:spcBef>
            </a:pPr>
            <a:r>
              <a:rPr lang="hu-HU" sz="2800" b="1" dirty="0" smtClean="0">
                <a:solidFill>
                  <a:srgbClr val="000099"/>
                </a:solidFill>
              </a:rPr>
              <a:t>A Bloom taxonómia affektív (érzelmi képességek) tartománya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hu-HU" sz="2800" b="1" i="0" u="none" strike="noStrike" kern="120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Graphic spid="12" grpId="0">
        <p:bldAsOne/>
      </p:bldGraphic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z eredményes és sikeres változtatás kulcs- komponensei </a:t>
            </a:r>
            <a:endParaRPr lang="hu-HU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71600" y="1295400"/>
            <a:ext cx="6294025" cy="2539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0" y="4191000"/>
            <a:ext cx="3154680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zövegdoboz 5"/>
          <p:cNvSpPr txBox="1"/>
          <p:nvPr/>
        </p:nvSpPr>
        <p:spPr>
          <a:xfrm>
            <a:off x="914400" y="3886200"/>
            <a:ext cx="7010400" cy="375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hu-HU" dirty="0" smtClean="0">
                <a:solidFill>
                  <a:srgbClr val="000099"/>
                </a:solidFill>
              </a:rPr>
              <a:t>Egy felmérés meglepő eredménye:</a:t>
            </a:r>
            <a:endParaRPr lang="hu-HU" dirty="0" smtClean="0">
              <a:solidFill>
                <a:srgbClr val="0000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soportba foglalás 11"/>
          <p:cNvGrpSpPr/>
          <p:nvPr/>
        </p:nvGrpSpPr>
        <p:grpSpPr>
          <a:xfrm>
            <a:off x="558800" y="881350"/>
            <a:ext cx="8239713" cy="5256552"/>
            <a:chOff x="563527" y="1319213"/>
            <a:chExt cx="9083711" cy="5794375"/>
          </a:xfrm>
        </p:grpSpPr>
        <p:graphicFrame>
          <p:nvGraphicFramePr>
            <p:cNvPr id="1026" name="Diagram 3"/>
            <p:cNvGraphicFramePr>
              <a:graphicFrameLocks/>
            </p:cNvGraphicFramePr>
            <p:nvPr>
              <p:ph sz="half" idx="4294967295"/>
            </p:nvPr>
          </p:nvGraphicFramePr>
          <p:xfrm>
            <a:off x="5278438" y="1319213"/>
            <a:ext cx="4368800" cy="5794375"/>
          </p:xfrm>
          <a:graphic>
            <a:graphicData uri="http://schemas.openxmlformats.org/drawingml/2006/compatibility">
              <com:legacyDrawing xmlns:com="http://schemas.openxmlformats.org/drawingml/2006/compatibility" spid="_x0000_s14338"/>
            </a:graphicData>
          </a:graphic>
        </p:graphicFrame>
        <p:grpSp>
          <p:nvGrpSpPr>
            <p:cNvPr id="3" name="Csoportba foglalás 10"/>
            <p:cNvGrpSpPr/>
            <p:nvPr/>
          </p:nvGrpSpPr>
          <p:grpSpPr>
            <a:xfrm>
              <a:off x="563527" y="2352675"/>
              <a:ext cx="5880364" cy="3432194"/>
              <a:chOff x="563527" y="2352675"/>
              <a:chExt cx="5880364" cy="3432194"/>
            </a:xfrm>
          </p:grpSpPr>
          <p:sp>
            <p:nvSpPr>
              <p:cNvPr id="1034" name="Text Box 10"/>
              <p:cNvSpPr txBox="1">
                <a:spLocks noChangeArrowheads="1"/>
              </p:cNvSpPr>
              <p:nvPr/>
            </p:nvSpPr>
            <p:spPr bwMode="auto">
              <a:xfrm>
                <a:off x="595312" y="5367338"/>
                <a:ext cx="4672505" cy="4175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4D4D4D"/>
                    </a:solidFill>
                  </a:rPr>
                  <a:t>1: Tanulás, </a:t>
                </a:r>
                <a:r>
                  <a:rPr lang="hu-HU" b="1" dirty="0" smtClean="0">
                    <a:solidFill>
                      <a:srgbClr val="4D4D4D"/>
                    </a:solidFill>
                  </a:rPr>
                  <a:t>tanítás, tartalom elosztás</a:t>
                </a:r>
                <a:endParaRPr lang="hu-HU" b="1" dirty="0">
                  <a:solidFill>
                    <a:srgbClr val="4D4D4D"/>
                  </a:solidFill>
                </a:endParaRPr>
              </a:p>
            </p:txBody>
          </p:sp>
          <p:sp>
            <p:nvSpPr>
              <p:cNvPr id="1035" name="Text Box 11"/>
              <p:cNvSpPr txBox="1">
                <a:spLocks noChangeArrowheads="1"/>
              </p:cNvSpPr>
              <p:nvPr/>
            </p:nvSpPr>
            <p:spPr bwMode="auto">
              <a:xfrm>
                <a:off x="563527" y="4631504"/>
                <a:ext cx="5488340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6600CC"/>
                    </a:solidFill>
                  </a:rPr>
                  <a:t>2: Eszközök, technikák helyes alkalmazása, tapasztalat</a:t>
                </a:r>
              </a:p>
            </p:txBody>
          </p:sp>
          <p:sp>
            <p:nvSpPr>
              <p:cNvPr id="1036" name="Text Box 12"/>
              <p:cNvSpPr txBox="1">
                <a:spLocks noChangeArrowheads="1"/>
              </p:cNvSpPr>
              <p:nvPr/>
            </p:nvSpPr>
            <p:spPr bwMode="auto">
              <a:xfrm>
                <a:off x="595312" y="3860800"/>
                <a:ext cx="5848579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FF9617"/>
                    </a:solidFill>
                  </a:rPr>
                  <a:t>3: Együttműködés, </a:t>
                </a:r>
                <a:r>
                  <a:rPr lang="hu-HU" b="1" dirty="0" smtClean="0">
                    <a:solidFill>
                      <a:srgbClr val="FF9617"/>
                    </a:solidFill>
                  </a:rPr>
                  <a:t>teljesítményorientáltság</a:t>
                </a:r>
                <a:r>
                  <a:rPr lang="hu-HU" b="1" dirty="0">
                    <a:solidFill>
                      <a:srgbClr val="FF9617"/>
                    </a:solidFill>
                  </a:rPr>
                  <a:t>, tudásfejlesztés és megosztás</a:t>
                </a:r>
              </a:p>
            </p:txBody>
          </p:sp>
          <p:sp>
            <p:nvSpPr>
              <p:cNvPr id="1037" name="Text Box 13"/>
              <p:cNvSpPr txBox="1">
                <a:spLocks noChangeArrowheads="1"/>
              </p:cNvSpPr>
              <p:nvPr/>
            </p:nvSpPr>
            <p:spPr bwMode="auto">
              <a:xfrm>
                <a:off x="595313" y="3146425"/>
                <a:ext cx="5556250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669900"/>
                    </a:solidFill>
                  </a:rPr>
                  <a:t>4: Teljesítőképesség: tudás, jártasság</a:t>
                </a:r>
                <a:r>
                  <a:rPr lang="hu-HU" b="1" dirty="0" smtClean="0">
                    <a:solidFill>
                      <a:srgbClr val="669900"/>
                    </a:solidFill>
                  </a:rPr>
                  <a:t>, motiváció, </a:t>
                </a:r>
                <a:r>
                  <a:rPr lang="hu-HU" b="1" dirty="0">
                    <a:solidFill>
                      <a:srgbClr val="669900"/>
                    </a:solidFill>
                  </a:rPr>
                  <a:t>beállítottság helyes alkalmazása</a:t>
                </a:r>
              </a:p>
            </p:txBody>
          </p:sp>
          <p:sp>
            <p:nvSpPr>
              <p:cNvPr id="1038" name="Text Box 14"/>
              <p:cNvSpPr txBox="1">
                <a:spLocks noChangeArrowheads="1"/>
              </p:cNvSpPr>
              <p:nvPr/>
            </p:nvSpPr>
            <p:spPr bwMode="auto">
              <a:xfrm>
                <a:off x="595313" y="2352675"/>
                <a:ext cx="5715000" cy="7228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00794" tIns="50397" rIns="100794" bIns="50397">
                <a:spAutoFit/>
              </a:bodyPr>
              <a:lstStyle/>
              <a:p>
                <a:pPr hangingPunct="0">
                  <a:spcBef>
                    <a:spcPct val="50000"/>
                  </a:spcBef>
                </a:pPr>
                <a:r>
                  <a:rPr lang="hu-HU" b="1" dirty="0">
                    <a:solidFill>
                      <a:srgbClr val="CC0000"/>
                    </a:solidFill>
                  </a:rPr>
                  <a:t>5: Eredmény: teljesítőképesség + </a:t>
                </a:r>
                <a:r>
                  <a:rPr lang="hu-HU" b="1" dirty="0" smtClean="0">
                    <a:solidFill>
                      <a:srgbClr val="CC0000"/>
                    </a:solidFill>
                  </a:rPr>
                  <a:t>lehetőség + környezet </a:t>
                </a:r>
                <a:r>
                  <a:rPr lang="hu-HU" b="1" dirty="0">
                    <a:solidFill>
                      <a:srgbClr val="CC0000"/>
                    </a:solidFill>
                  </a:rPr>
                  <a:t>+ </a:t>
                </a:r>
                <a:r>
                  <a:rPr lang="hu-HU" b="1" dirty="0" smtClean="0">
                    <a:solidFill>
                      <a:srgbClr val="CC0000"/>
                    </a:solidFill>
                  </a:rPr>
                  <a:t>ösztönzés </a:t>
                </a:r>
                <a:r>
                  <a:rPr lang="hu-HU" b="1" dirty="0">
                    <a:solidFill>
                      <a:srgbClr val="CC0000"/>
                    </a:solidFill>
                  </a:rPr>
                  <a:t>+ fókusz</a:t>
                </a:r>
              </a:p>
            </p:txBody>
          </p:sp>
        </p:grpSp>
      </p:grpSp>
      <p:sp>
        <p:nvSpPr>
          <p:cNvPr id="9" name="Téglalap 8"/>
          <p:cNvSpPr/>
          <p:nvPr/>
        </p:nvSpPr>
        <p:spPr>
          <a:xfrm>
            <a:off x="573316" y="5671498"/>
            <a:ext cx="7119607" cy="268422"/>
          </a:xfrm>
          <a:prstGeom prst="rect">
            <a:avLst/>
          </a:prstGeom>
        </p:spPr>
        <p:txBody>
          <a:bodyPr wrap="square" lIns="82945" tIns="41473" rIns="82945" bIns="41473">
            <a:spAutoFit/>
          </a:bodyPr>
          <a:lstStyle/>
          <a:p>
            <a:r>
              <a:rPr lang="hu-HU" sz="1200" dirty="0" smtClean="0"/>
              <a:t>http://www.youtube.com/watch?v=5RpDNTbSsI0&amp;feature=related</a:t>
            </a:r>
            <a:endParaRPr lang="hu-HU" sz="1200" dirty="0"/>
          </a:p>
        </p:txBody>
      </p:sp>
      <p:sp>
        <p:nvSpPr>
          <p:cNvPr id="10" name="Téglalap 9"/>
          <p:cNvSpPr/>
          <p:nvPr/>
        </p:nvSpPr>
        <p:spPr>
          <a:xfrm>
            <a:off x="508000" y="5410200"/>
            <a:ext cx="2461151" cy="299200"/>
          </a:xfrm>
          <a:prstGeom prst="rect">
            <a:avLst/>
          </a:prstGeom>
        </p:spPr>
        <p:txBody>
          <a:bodyPr wrap="none" lIns="82945" tIns="41473" rIns="82945" bIns="41473">
            <a:spAutoFit/>
          </a:bodyPr>
          <a:lstStyle/>
          <a:p>
            <a:r>
              <a:rPr lang="en-US" sz="1400" b="1" dirty="0" smtClean="0"/>
              <a:t>Sully US Air Hudson Crash</a:t>
            </a:r>
            <a:endParaRPr lang="en-US" sz="1400" b="1" dirty="0"/>
          </a:p>
        </p:txBody>
      </p:sp>
      <p:sp>
        <p:nvSpPr>
          <p:cNvPr id="13" name="Téglalap 12"/>
          <p:cNvSpPr/>
          <p:nvPr/>
        </p:nvSpPr>
        <p:spPr>
          <a:xfrm>
            <a:off x="573316" y="5932795"/>
            <a:ext cx="7642147" cy="268422"/>
          </a:xfrm>
          <a:prstGeom prst="rect">
            <a:avLst/>
          </a:prstGeom>
        </p:spPr>
        <p:txBody>
          <a:bodyPr wrap="square" lIns="82945" tIns="41473" rIns="82945" bIns="41473">
            <a:spAutoFit/>
          </a:bodyPr>
          <a:lstStyle/>
          <a:p>
            <a:r>
              <a:rPr lang="hu-HU" sz="1200" dirty="0" smtClean="0"/>
              <a:t>http://www.youtube.com/watch?v=6JNqG2FkMjs&amp;feature=endscreen</a:t>
            </a:r>
            <a:endParaRPr lang="hu-HU" sz="1200" dirty="0"/>
          </a:p>
        </p:txBody>
      </p:sp>
      <p:sp>
        <p:nvSpPr>
          <p:cNvPr id="14" name="Titel 1"/>
          <p:cNvSpPr txBox="1">
            <a:spLocks/>
          </p:cNvSpPr>
          <p:nvPr/>
        </p:nvSpPr>
        <p:spPr>
          <a:xfrm>
            <a:off x="609600" y="27940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ts val="3100"/>
              </a:lnSpc>
              <a:spcBef>
                <a:spcPct val="0"/>
              </a:spcBef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5" name="Cím 14"/>
          <p:cNvSpPr>
            <a:spLocks noGrp="1"/>
          </p:cNvSpPr>
          <p:nvPr>
            <p:ph type="title"/>
          </p:nvPr>
        </p:nvSpPr>
        <p:spPr>
          <a:xfrm>
            <a:off x="609600" y="228600"/>
            <a:ext cx="7924800" cy="609600"/>
          </a:xfrm>
        </p:spPr>
        <p:txBody>
          <a:bodyPr/>
          <a:lstStyle/>
          <a:p>
            <a:pPr lvl="0"/>
            <a:r>
              <a:rPr lang="hu-HU" dirty="0" smtClean="0"/>
              <a:t>A projekt menedzsment kompetencia  fejlődési szintjei</a:t>
            </a:r>
            <a:r>
              <a:rPr lang="en-US" b="0" dirty="0" smtClean="0"/>
              <a:t/>
            </a:r>
            <a:br>
              <a:rPr lang="en-US" b="0" dirty="0" smtClean="0"/>
            </a:br>
            <a:endParaRPr lang="hu-HU" dirty="0"/>
          </a:p>
        </p:txBody>
      </p:sp>
      <p:cxnSp>
        <p:nvCxnSpPr>
          <p:cNvPr id="17" name="Egyenes összekötő 16"/>
          <p:cNvCxnSpPr/>
          <p:nvPr/>
        </p:nvCxnSpPr>
        <p:spPr>
          <a:xfrm>
            <a:off x="457200" y="2463800"/>
            <a:ext cx="8280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3" grpId="0"/>
      <p:bldP spid="1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udás-menedzsment „</a:t>
            </a:r>
            <a:r>
              <a:rPr lang="hu-HU" dirty="0" err="1" smtClean="0"/>
              <a:t>Pater</a:t>
            </a:r>
            <a:r>
              <a:rPr lang="hu-HU" dirty="0" smtClean="0"/>
              <a:t> </a:t>
            </a:r>
            <a:r>
              <a:rPr lang="hu-HU" dirty="0" err="1" smtClean="0"/>
              <a:t>Noster</a:t>
            </a:r>
            <a:r>
              <a:rPr lang="hu-HU" dirty="0" smtClean="0"/>
              <a:t>”</a:t>
            </a:r>
            <a:br>
              <a:rPr lang="hu-HU" dirty="0" smtClean="0"/>
            </a:br>
            <a:r>
              <a:rPr lang="hu-HU" dirty="0" smtClean="0"/>
              <a:t>projekt környezetben</a:t>
            </a:r>
            <a:endParaRPr lang="hu-HU" dirty="0"/>
          </a:p>
        </p:txBody>
      </p:sp>
      <p:pic>
        <p:nvPicPr>
          <p:cNvPr id="276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4505" y="1422400"/>
            <a:ext cx="6254989" cy="421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tudás menedzsment sikertényezői</a:t>
            </a:r>
            <a:endParaRPr lang="hu-HU" dirty="0"/>
          </a:p>
        </p:txBody>
      </p:sp>
      <p:graphicFrame>
        <p:nvGraphicFramePr>
          <p:cNvPr id="29699" name="Object 3"/>
          <p:cNvGraphicFramePr>
            <a:graphicFrameLocks noChangeAspect="1"/>
          </p:cNvGraphicFramePr>
          <p:nvPr/>
        </p:nvGraphicFramePr>
        <p:xfrm>
          <a:off x="3911600" y="3090590"/>
          <a:ext cx="4724948" cy="1320800"/>
        </p:xfrm>
        <a:graphic>
          <a:graphicData uri="http://schemas.openxmlformats.org/presentationml/2006/ole">
            <p:oleObj spid="_x0000_s29699" name="Visio" r:id="rId3" imgW="3157706" imgH="882590" progId="Visio.Drawing.11">
              <p:link updateAutomatic="1"/>
            </p:oleObj>
          </a:graphicData>
        </a:graphic>
      </p:graphicFrame>
      <p:graphicFrame>
        <p:nvGraphicFramePr>
          <p:cNvPr id="29701" name="Object 5"/>
          <p:cNvGraphicFramePr>
            <a:graphicFrameLocks noChangeAspect="1"/>
          </p:cNvGraphicFramePr>
          <p:nvPr/>
        </p:nvGraphicFramePr>
        <p:xfrm>
          <a:off x="3911600" y="4495800"/>
          <a:ext cx="4724400" cy="1625600"/>
        </p:xfrm>
        <a:graphic>
          <a:graphicData uri="http://schemas.openxmlformats.org/presentationml/2006/ole">
            <p:oleObj spid="_x0000_s29701" name="Visio" r:id="rId4" imgW="3054215" imgH="1033822" progId="Visio.Drawing.11">
              <p:link updateAutomatic="1"/>
            </p:oleObj>
          </a:graphicData>
        </a:graphic>
      </p:graphicFrame>
      <p:graphicFrame>
        <p:nvGraphicFramePr>
          <p:cNvPr id="29706" name="Object 10"/>
          <p:cNvGraphicFramePr>
            <a:graphicFrameLocks noChangeAspect="1"/>
          </p:cNvGraphicFramePr>
          <p:nvPr/>
        </p:nvGraphicFramePr>
        <p:xfrm>
          <a:off x="660400" y="3073400"/>
          <a:ext cx="3188003" cy="762000"/>
        </p:xfrm>
        <a:graphic>
          <a:graphicData uri="http://schemas.openxmlformats.org/presentationml/2006/ole">
            <p:oleObj spid="_x0000_s29706" name="Visio" r:id="rId5" imgW="2530813" imgH="605467" progId="Visio.Drawing.11">
              <p:link updateAutomatic="1"/>
            </p:oleObj>
          </a:graphicData>
        </a:graphic>
      </p:graphicFrame>
      <p:graphicFrame>
        <p:nvGraphicFramePr>
          <p:cNvPr id="29707" name="Object 11"/>
          <p:cNvGraphicFramePr>
            <a:graphicFrameLocks noChangeAspect="1"/>
          </p:cNvGraphicFramePr>
          <p:nvPr/>
        </p:nvGraphicFramePr>
        <p:xfrm>
          <a:off x="660400" y="4495800"/>
          <a:ext cx="3110266" cy="812800"/>
        </p:xfrm>
        <a:graphic>
          <a:graphicData uri="http://schemas.openxmlformats.org/presentationml/2006/ole">
            <p:oleObj spid="_x0000_s29707" name="Visio" r:id="rId6" imgW="2557834" imgH="668817" progId="Visio.Drawing.11">
              <p:link updateAutomatic="1"/>
            </p:oleObj>
          </a:graphicData>
        </a:graphic>
      </p:graphicFrame>
      <p:graphicFrame>
        <p:nvGraphicFramePr>
          <p:cNvPr id="29708" name="Object 12"/>
          <p:cNvGraphicFramePr>
            <a:graphicFrameLocks noChangeAspect="1"/>
          </p:cNvGraphicFramePr>
          <p:nvPr/>
        </p:nvGraphicFramePr>
        <p:xfrm>
          <a:off x="711200" y="1295400"/>
          <a:ext cx="3110266" cy="812800"/>
        </p:xfrm>
        <a:graphic>
          <a:graphicData uri="http://schemas.openxmlformats.org/presentationml/2006/ole">
            <p:oleObj spid="_x0000_s29708" name="Visio" r:id="rId7" imgW="2557834" imgH="667738" progId="Visio.Drawing.11">
              <p:link updateAutomatic="1"/>
            </p:oleObj>
          </a:graphicData>
        </a:graphic>
      </p:graphicFrame>
      <p:graphicFrame>
        <p:nvGraphicFramePr>
          <p:cNvPr id="29709" name="Object 13"/>
          <p:cNvGraphicFramePr>
            <a:graphicFrameLocks noChangeAspect="1"/>
          </p:cNvGraphicFramePr>
          <p:nvPr/>
        </p:nvGraphicFramePr>
        <p:xfrm>
          <a:off x="3962400" y="1295400"/>
          <a:ext cx="4633900" cy="1524000"/>
        </p:xfrm>
        <a:graphic>
          <a:graphicData uri="http://schemas.openxmlformats.org/presentationml/2006/ole">
            <p:oleObj spid="_x0000_s29709" name="Visio" r:id="rId8" imgW="3445753" imgH="1132756" progId="Visio.Drawing.11">
              <p:link updateAutomatic="1"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" dur="500"/>
                                        <p:tgtEl>
                                          <p:spTgt spid="297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297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297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296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1" dur="2000"/>
                                        <p:tgtEl>
                                          <p:spTgt spid="297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6" dur="2000"/>
                                        <p:tgtEl>
                                          <p:spTgt spid="297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tudás menedzsment sikertényezői</a:t>
            </a:r>
            <a:endParaRPr lang="hu-HU" dirty="0"/>
          </a:p>
        </p:txBody>
      </p:sp>
      <p:graphicFrame>
        <p:nvGraphicFramePr>
          <p:cNvPr id="29702" name="Object 6"/>
          <p:cNvGraphicFramePr>
            <a:graphicFrameLocks noChangeAspect="1"/>
          </p:cNvGraphicFramePr>
          <p:nvPr/>
        </p:nvGraphicFramePr>
        <p:xfrm>
          <a:off x="610163" y="990600"/>
          <a:ext cx="3157415" cy="762000"/>
        </p:xfrm>
        <a:graphic>
          <a:graphicData uri="http://schemas.openxmlformats.org/presentationml/2006/ole">
            <p:oleObj spid="_x0000_s30726" name="Visio" r:id="rId3" imgW="2564860" imgH="618945" progId="Visio.Drawing.11">
              <p:link updateAutomatic="1"/>
            </p:oleObj>
          </a:graphicData>
        </a:graphic>
      </p:graphicFrame>
      <p:graphicFrame>
        <p:nvGraphicFramePr>
          <p:cNvPr id="29703" name="Object 7"/>
          <p:cNvGraphicFramePr>
            <a:graphicFrameLocks noChangeAspect="1"/>
          </p:cNvGraphicFramePr>
          <p:nvPr/>
        </p:nvGraphicFramePr>
        <p:xfrm>
          <a:off x="3911600" y="990600"/>
          <a:ext cx="4724400" cy="2254158"/>
        </p:xfrm>
        <a:graphic>
          <a:graphicData uri="http://schemas.openxmlformats.org/presentationml/2006/ole">
            <p:oleObj spid="_x0000_s30727" name="Visio" r:id="rId4" imgW="3054215" imgH="1456786" progId="Visio.Drawing.11">
              <p:link updateAutomatic="1"/>
            </p:oleObj>
          </a:graphicData>
        </a:graphic>
      </p:graphicFrame>
      <p:graphicFrame>
        <p:nvGraphicFramePr>
          <p:cNvPr id="30729" name="Object 9"/>
          <p:cNvGraphicFramePr>
            <a:graphicFrameLocks noChangeAspect="1"/>
          </p:cNvGraphicFramePr>
          <p:nvPr/>
        </p:nvGraphicFramePr>
        <p:xfrm>
          <a:off x="3962400" y="3327400"/>
          <a:ext cx="4622800" cy="2205681"/>
        </p:xfrm>
        <a:graphic>
          <a:graphicData uri="http://schemas.openxmlformats.org/presentationml/2006/ole">
            <p:oleObj spid="_x0000_s30729" name="Visio" r:id="rId5" imgW="3054215" imgH="1456786" progId="Visio.Drawing.11">
              <p:link updateAutomatic="1"/>
            </p:oleObj>
          </a:graphicData>
        </a:graphic>
      </p:graphicFrame>
      <p:graphicFrame>
        <p:nvGraphicFramePr>
          <p:cNvPr id="30733" name="Object 13"/>
          <p:cNvGraphicFramePr>
            <a:graphicFrameLocks noChangeAspect="1"/>
          </p:cNvGraphicFramePr>
          <p:nvPr/>
        </p:nvGraphicFramePr>
        <p:xfrm>
          <a:off x="660400" y="3327400"/>
          <a:ext cx="3098800" cy="940604"/>
        </p:xfrm>
        <a:graphic>
          <a:graphicData uri="http://schemas.openxmlformats.org/presentationml/2006/ole">
            <p:oleObj spid="_x0000_s30733" name="Visio" r:id="rId6" imgW="2557834" imgH="775838" progId="Visio.Drawing.11">
              <p:link updateAutomatic="1"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" dur="500"/>
                                        <p:tgtEl>
                                          <p:spTgt spid="297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307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307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Elköszönő kérdés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08000" y="1092200"/>
            <a:ext cx="7924800" cy="4216400"/>
          </a:xfrm>
        </p:spPr>
        <p:txBody>
          <a:bodyPr/>
          <a:lstStyle/>
          <a:p>
            <a:r>
              <a:rPr lang="hu-HU" dirty="0" smtClean="0"/>
              <a:t>Van-e kapcsolata </a:t>
            </a:r>
            <a:r>
              <a:rPr lang="hu-HU" dirty="0"/>
              <a:t>a PAS 55-nek a </a:t>
            </a:r>
            <a:r>
              <a:rPr lang="hu-HU" dirty="0" smtClean="0"/>
              <a:t>tudásmenedzsmenthez projekt környezetben?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64" name="think-cell Slide" r:id="rId6" imgW="360" imgH="360" progId="">
              <p:embed/>
            </p:oleObj>
          </a:graphicData>
        </a:graphic>
      </p:graphicFrame>
      <p:sp>
        <p:nvSpPr>
          <p:cNvPr id="3076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584200"/>
            <a:ext cx="7924800" cy="533400"/>
          </a:xfrm>
        </p:spPr>
        <p:txBody>
          <a:bodyPr/>
          <a:lstStyle/>
          <a:p>
            <a:pPr>
              <a:defRPr/>
            </a:pPr>
            <a:r>
              <a:rPr lang="hu-HU" b="1" dirty="0" smtClean="0">
                <a:latin typeface="+mn-lt"/>
              </a:rPr>
              <a:t>Témakörök</a:t>
            </a:r>
            <a:endParaRPr lang="en-US" b="1" dirty="0" smtClean="0">
              <a:latin typeface="+mn-lt"/>
            </a:endParaRPr>
          </a:p>
        </p:txBody>
      </p:sp>
      <p:sp>
        <p:nvSpPr>
          <p:cNvPr id="7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11200" y="1244600"/>
            <a:ext cx="7384565" cy="281693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 type="none" w="med" len="lg"/>
          </a:ln>
          <a:effectLst/>
        </p:spPr>
        <p:txBody>
          <a:bodyPr wrap="none" lIns="180000" tIns="0" rIns="0" bIns="0" anchor="ctr"/>
          <a:lstStyle/>
          <a:p>
            <a:pPr marL="203200" indent="-203200">
              <a:spcAft>
                <a:spcPts val="1200"/>
              </a:spcAft>
              <a:buClr>
                <a:srgbClr val="000099"/>
              </a:buClr>
              <a:buSzPct val="100000"/>
              <a:buFont typeface="Arial" pitchFamily="34" charset="0"/>
              <a:buChar char="•"/>
            </a:pPr>
            <a:r>
              <a:rPr lang="hu-HU" sz="2400" dirty="0" smtClean="0">
                <a:solidFill>
                  <a:srgbClr val="000099"/>
                </a:solidFill>
              </a:rPr>
              <a:t>Projekt környezet és a tudáselemek kapcsolata</a:t>
            </a:r>
          </a:p>
          <a:p>
            <a:pPr marL="203200" indent="-203200">
              <a:spcAft>
                <a:spcPts val="1200"/>
              </a:spcAft>
              <a:buClr>
                <a:srgbClr val="000099"/>
              </a:buClr>
              <a:buSzPct val="100000"/>
              <a:buFont typeface="Arial" pitchFamily="34" charset="0"/>
              <a:buChar char="•"/>
            </a:pPr>
            <a:r>
              <a:rPr lang="hu-HU" sz="2400" dirty="0" smtClean="0">
                <a:solidFill>
                  <a:srgbClr val="000099"/>
                </a:solidFill>
              </a:rPr>
              <a:t>Magyar </a:t>
            </a:r>
            <a:r>
              <a:rPr lang="hu-HU" sz="2400" dirty="0" err="1" smtClean="0">
                <a:solidFill>
                  <a:srgbClr val="000099"/>
                </a:solidFill>
              </a:rPr>
              <a:t>pm</a:t>
            </a:r>
            <a:r>
              <a:rPr lang="hu-HU" sz="2400" dirty="0" smtClean="0">
                <a:solidFill>
                  <a:srgbClr val="000099"/>
                </a:solidFill>
              </a:rPr>
              <a:t> kultúra jellemző tünetei</a:t>
            </a:r>
            <a:endParaRPr lang="hu-HU" sz="2400" dirty="0" smtClean="0">
              <a:solidFill>
                <a:srgbClr val="000099"/>
              </a:solidFill>
            </a:endParaRPr>
          </a:p>
          <a:p>
            <a:pPr marL="203200" indent="-203200">
              <a:spcAft>
                <a:spcPts val="1200"/>
              </a:spcAft>
              <a:buClr>
                <a:srgbClr val="000099"/>
              </a:buClr>
              <a:buSzPct val="100000"/>
              <a:buFont typeface="Arial" pitchFamily="34" charset="0"/>
              <a:buChar char="•"/>
            </a:pPr>
            <a:r>
              <a:rPr lang="hu-HU" sz="2400" dirty="0" smtClean="0">
                <a:solidFill>
                  <a:srgbClr val="000099"/>
                </a:solidFill>
              </a:rPr>
              <a:t>A </a:t>
            </a:r>
            <a:r>
              <a:rPr lang="hu-HU" sz="2400" dirty="0" smtClean="0">
                <a:solidFill>
                  <a:srgbClr val="000099"/>
                </a:solidFill>
              </a:rPr>
              <a:t>tudás szerepe a projekt menedzsment területén: </a:t>
            </a:r>
            <a:r>
              <a:rPr lang="hu-HU" sz="2400" dirty="0" smtClean="0">
                <a:solidFill>
                  <a:srgbClr val="000099"/>
                </a:solidFill>
              </a:rPr>
              <a:t/>
            </a:r>
            <a:br>
              <a:rPr lang="hu-HU" sz="2400" dirty="0" smtClean="0">
                <a:solidFill>
                  <a:srgbClr val="000099"/>
                </a:solidFill>
              </a:rPr>
            </a:br>
            <a:r>
              <a:rPr lang="hu-HU" sz="2400" dirty="0" smtClean="0">
                <a:solidFill>
                  <a:srgbClr val="000099"/>
                </a:solidFill>
              </a:rPr>
              <a:t>kritikus sikertényező</a:t>
            </a:r>
          </a:p>
          <a:p>
            <a:pPr marL="203200" indent="-203200">
              <a:spcAft>
                <a:spcPts val="1200"/>
              </a:spcAft>
              <a:buClr>
                <a:srgbClr val="000099"/>
              </a:buClr>
              <a:buSzPct val="100000"/>
              <a:buFont typeface="Arial" pitchFamily="34" charset="0"/>
              <a:buChar char="•"/>
            </a:pPr>
            <a:r>
              <a:rPr lang="hu-HU" sz="2400" dirty="0" smtClean="0">
                <a:solidFill>
                  <a:srgbClr val="000099"/>
                </a:solidFill>
              </a:rPr>
              <a:t>Javasolt modell és sikertényezők</a:t>
            </a:r>
            <a:endParaRPr lang="hu-HU" sz="2400" dirty="0" smtClean="0">
              <a:solidFill>
                <a:srgbClr val="000099"/>
              </a:solidFill>
            </a:endParaRPr>
          </a:p>
          <a:p>
            <a:pPr marL="203200" indent="-203200">
              <a:buClr>
                <a:srgbClr val="000099"/>
              </a:buClr>
              <a:buSzPct val="100000"/>
              <a:buFont typeface="Wingdings"/>
              <a:buChar char=""/>
            </a:pPr>
            <a:endParaRPr lang="en-US" sz="2400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024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6" grpId="0"/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érdések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08000" y="1041400"/>
            <a:ext cx="8432800" cy="4546600"/>
          </a:xfrm>
        </p:spPr>
        <p:txBody>
          <a:bodyPr/>
          <a:lstStyle/>
          <a:p>
            <a:r>
              <a:rPr lang="hu-HU" b="1" dirty="0" smtClean="0"/>
              <a:t>Miért fontos nekem ez a témakör?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hu-HU" sz="2000" dirty="0" smtClean="0"/>
              <a:t>inspiráció </a:t>
            </a:r>
            <a:r>
              <a:rPr lang="hu-HU" sz="2000" dirty="0"/>
              <a:t>és új lehetőségek a </a:t>
            </a:r>
            <a:r>
              <a:rPr lang="hu-HU" sz="2000" dirty="0" err="1"/>
              <a:t>pm</a:t>
            </a:r>
            <a:r>
              <a:rPr lang="hu-HU" sz="2000" dirty="0"/>
              <a:t> kompetencia </a:t>
            </a:r>
            <a:r>
              <a:rPr lang="hu-HU" sz="2000" dirty="0" smtClean="0"/>
              <a:t>fejlesztéséhez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hu-HU" sz="2000" dirty="0" smtClean="0"/>
              <a:t>36 </a:t>
            </a:r>
            <a:r>
              <a:rPr lang="hu-HU" sz="2000" dirty="0"/>
              <a:t>év projekt menedzsment tapasztalat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hu-HU" sz="2000" dirty="0" smtClean="0"/>
              <a:t>IPMA </a:t>
            </a:r>
            <a:r>
              <a:rPr lang="hu-HU" sz="2000" dirty="0"/>
              <a:t>vizsgabiztosi tapasztalatok ellenére optimista szeretnék lenni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</a:pPr>
            <a:r>
              <a:rPr lang="hu-HU" b="1" dirty="0" smtClean="0"/>
              <a:t>Elveszett illúziók</a:t>
            </a:r>
          </a:p>
          <a:p>
            <a:pPr marL="457200" indent="-4572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hu-HU" sz="2000" dirty="0"/>
              <a:t>Lisszaboni stratégia: 2010-re tudás alapú társadalommá és gazdasággá válunk.</a:t>
            </a:r>
          </a:p>
          <a:p>
            <a:pPr marL="457200" indent="-4572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hu-HU" sz="2000" dirty="0"/>
              <a:t>Az EU projekteket projekt szemléletben és módszertannal valósítják meg, a kultúra részévé </a:t>
            </a:r>
            <a:r>
              <a:rPr lang="hu-HU" sz="2000" dirty="0" smtClean="0"/>
              <a:t>válik. </a:t>
            </a:r>
            <a:endParaRPr lang="hu-HU" sz="2000" dirty="0"/>
          </a:p>
          <a:p>
            <a:pPr marL="457200" indent="-4572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hu-HU" sz="2000" dirty="0"/>
              <a:t>Az </a:t>
            </a:r>
            <a:r>
              <a:rPr lang="hu-HU" sz="2000" dirty="0" smtClean="0"/>
              <a:t>EU-hoz </a:t>
            </a:r>
            <a:r>
              <a:rPr lang="hu-HU" sz="2000" dirty="0"/>
              <a:t>való csatlakozás lehetővé teszi a projekt menedzsment kultúra jelentős fejlődését, a </a:t>
            </a:r>
            <a:r>
              <a:rPr lang="hu-HU" sz="2000" dirty="0" err="1"/>
              <a:t>pm</a:t>
            </a:r>
            <a:r>
              <a:rPr lang="hu-HU" sz="2000" dirty="0"/>
              <a:t> szakmává válik.</a:t>
            </a:r>
          </a:p>
          <a:p>
            <a:pPr marL="457200" indent="-4572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hu-HU" sz="2000" dirty="0"/>
              <a:t>A projekt menedzsment és </a:t>
            </a:r>
            <a:r>
              <a:rPr lang="hu-HU" sz="2000" dirty="0" err="1" smtClean="0"/>
              <a:t>-tudás</a:t>
            </a:r>
            <a:r>
              <a:rPr lang="hu-HU" sz="2000" dirty="0" smtClean="0"/>
              <a:t> </a:t>
            </a:r>
            <a:r>
              <a:rPr lang="hu-HU" sz="2000" dirty="0"/>
              <a:t>az erkölcsi megtisztulás felé tereli az országot.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</a:pPr>
            <a:endParaRPr lang="hu-HU" sz="2000" dirty="0"/>
          </a:p>
          <a:p>
            <a:endParaRPr lang="hu-HU" dirty="0" smtClean="0"/>
          </a:p>
        </p:txBody>
      </p:sp>
    </p:spTree>
  </p:cSld>
  <p:clrMapOvr>
    <a:masterClrMapping/>
  </p:clrMapOvr>
  <p:transition advClick="0" advTm="40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nodeType="click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nodeType="click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nodeType="click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3" presetClass="entr" presetSubtype="10" fill="hold" nodeType="click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" presetClass="entr" presetSubtype="10" fill="hold" nodeType="click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3" presetClass="entr" presetSubtype="10" fill="hold" nodeType="click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érés és kérdések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08000" y="1422400"/>
            <a:ext cx="8432800" cy="4216400"/>
          </a:xfrm>
        </p:spPr>
        <p:txBody>
          <a:bodyPr/>
          <a:lstStyle/>
          <a:p>
            <a:r>
              <a:rPr lang="hu-HU" b="1" dirty="0"/>
              <a:t>Egymás melletti ülőktől (párosával) kérném szépen a következő kérdéseket megválaszolni: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hu-HU" sz="2000" dirty="0"/>
              <a:t>Önök szerint szakma-e a projekt menedzsment ma Magyarországon?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hu-HU" sz="2000" dirty="0"/>
              <a:t>Lehet-e projektet projekt menedzsment módszer nélkül megvalósítani?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hu-HU" sz="2000" dirty="0"/>
              <a:t>Ha projekt menedzsment Magyarországon növény lenne, mi lenne? (1-orchidea, 2-liliom, 3-ibolya, 4-büdöske, 5-szamárkóró, 6-tövisbokor)</a:t>
            </a:r>
          </a:p>
          <a:p>
            <a:pPr marL="457200" indent="-457200">
              <a:buFont typeface="+mj-lt"/>
              <a:buAutoNum type="arabicPeriod"/>
            </a:pPr>
            <a:endParaRPr lang="hu-HU" sz="20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ntr" presetSubtype="10" fill="hold" nodeType="click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" presetClass="entr" presetSubtype="10" fill="hold" nodeType="click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ntr" presetSubtype="10" fill="hold" nodeType="click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tudás szerepe a projekt menedzsment területén: kritikus sikertényező</a:t>
            </a:r>
            <a:br>
              <a:rPr lang="hu-HU" dirty="0" smtClean="0"/>
            </a:b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08000" y="1422400"/>
            <a:ext cx="8432800" cy="4216400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hu-HU" dirty="0" smtClean="0"/>
              <a:t>Az ember az intelligencia hordozója</a:t>
            </a:r>
          </a:p>
          <a:p>
            <a:pPr marL="457200" indent="-457200">
              <a:buFont typeface="+mj-lt"/>
              <a:buAutoNum type="arabicPeriod"/>
            </a:pPr>
            <a:r>
              <a:rPr lang="hu-HU" dirty="0"/>
              <a:t>A</a:t>
            </a:r>
            <a:r>
              <a:rPr lang="hu-HU" dirty="0" smtClean="0"/>
              <a:t>z </a:t>
            </a:r>
            <a:r>
              <a:rPr lang="hu-HU" dirty="0"/>
              <a:t>intelligencia megjelenésének két legfontosabb </a:t>
            </a:r>
            <a:r>
              <a:rPr lang="hu-HU" dirty="0" smtClean="0"/>
              <a:t>képessége:</a:t>
            </a:r>
            <a:endParaRPr lang="hu-HU" sz="2000" dirty="0"/>
          </a:p>
          <a:p>
            <a:pPr marL="869950" lvl="3" indent="-457200">
              <a:buClr>
                <a:srgbClr val="000099"/>
              </a:buClr>
              <a:buFont typeface="Arial" pitchFamily="34" charset="0"/>
              <a:buChar char="•"/>
            </a:pPr>
            <a:r>
              <a:rPr lang="hu-HU" sz="2000" dirty="0" smtClean="0"/>
              <a:t>döntéshozó </a:t>
            </a:r>
            <a:r>
              <a:rPr lang="hu-HU" sz="2000" dirty="0"/>
              <a:t>képesség</a:t>
            </a:r>
          </a:p>
          <a:p>
            <a:pPr marL="869950" lvl="3" indent="-457200">
              <a:buClr>
                <a:srgbClr val="000099"/>
              </a:buClr>
              <a:buFont typeface="Arial" pitchFamily="34" charset="0"/>
              <a:buChar char="•"/>
            </a:pPr>
            <a:r>
              <a:rPr lang="hu-HU" sz="2000" dirty="0" smtClean="0"/>
              <a:t>tanulási </a:t>
            </a:r>
            <a:r>
              <a:rPr lang="hu-HU" sz="2000" dirty="0"/>
              <a:t>képesség</a:t>
            </a:r>
            <a:endParaRPr lang="hu-HU" dirty="0"/>
          </a:p>
          <a:p>
            <a:endParaRPr lang="hu-HU" sz="2000" dirty="0" smtClean="0"/>
          </a:p>
          <a:p>
            <a:r>
              <a:rPr lang="hu-HU" sz="2000" dirty="0" smtClean="0"/>
              <a:t>Legelemibb </a:t>
            </a:r>
            <a:r>
              <a:rPr lang="hu-HU" sz="2000" dirty="0"/>
              <a:t>szintje: </a:t>
            </a:r>
            <a:r>
              <a:rPr lang="hu-HU" sz="2000" dirty="0" smtClean="0"/>
              <a:t>a baktériumoknál már megjelenik</a:t>
            </a:r>
            <a:r>
              <a:rPr lang="hu-HU" sz="2000" dirty="0"/>
              <a:t>, </a:t>
            </a:r>
            <a:endParaRPr lang="hu-HU" sz="2000" dirty="0" smtClean="0"/>
          </a:p>
          <a:p>
            <a:r>
              <a:rPr lang="hu-HU" sz="2000" dirty="0" smtClean="0"/>
              <a:t>(a </a:t>
            </a:r>
            <a:r>
              <a:rPr lang="hu-HU" sz="2000" dirty="0"/>
              <a:t>magyar projektek </a:t>
            </a:r>
            <a:r>
              <a:rPr lang="hu-HU" sz="2000" dirty="0" smtClean="0"/>
              <a:t>jelentős részénél sajnos még nem).</a:t>
            </a:r>
          </a:p>
          <a:p>
            <a:endParaRPr lang="hu-HU" sz="2000" dirty="0"/>
          </a:p>
          <a:p>
            <a:endParaRPr lang="hu-HU" sz="20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0"/>
                            </p:stCondLst>
                            <p:childTnLst>
                              <p:par>
                                <p:cTn id="14" presetID="4" presetClass="entr" presetSubtype="16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tudás szerepe a projekt menedzsment területén: kritikus sikertényező</a:t>
            </a:r>
            <a:br>
              <a:rPr lang="hu-HU" dirty="0" smtClean="0"/>
            </a:b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08000" y="1422400"/>
            <a:ext cx="8432800" cy="4216400"/>
          </a:xfrm>
        </p:spPr>
        <p:txBody>
          <a:bodyPr/>
          <a:lstStyle/>
          <a:p>
            <a:pPr marL="457200" indent="-457200"/>
            <a:r>
              <a:rPr lang="hu-HU" dirty="0" smtClean="0"/>
              <a:t>A </a:t>
            </a:r>
            <a:r>
              <a:rPr lang="hu-HU" dirty="0" smtClean="0"/>
              <a:t>tudás-gyarapodási alapfolyamat komponensei: </a:t>
            </a:r>
            <a:br>
              <a:rPr lang="hu-HU" dirty="0" smtClean="0"/>
            </a:br>
            <a:r>
              <a:rPr lang="hu-HU" dirty="0" smtClean="0"/>
              <a:t>		tanítás + tanulás </a:t>
            </a:r>
            <a:endParaRPr lang="hu-HU" dirty="0"/>
          </a:p>
          <a:p>
            <a:pPr marL="457200" indent="-457200">
              <a:buFont typeface="+mj-lt"/>
              <a:buAutoNum type="arabicPeriod"/>
            </a:pPr>
            <a:r>
              <a:rPr lang="hu-HU" dirty="0" smtClean="0"/>
              <a:t>A </a:t>
            </a:r>
            <a:r>
              <a:rPr lang="hu-HU" dirty="0"/>
              <a:t>tudás </a:t>
            </a:r>
            <a:r>
              <a:rPr lang="hu-HU" dirty="0" smtClean="0"/>
              <a:t>(T) egyenlete </a:t>
            </a:r>
            <a:r>
              <a:rPr lang="hu-HU" dirty="0"/>
              <a:t>projekt környezetben</a:t>
            </a:r>
            <a:r>
              <a:rPr lang="hu-HU" dirty="0" smtClean="0"/>
              <a:t>:</a:t>
            </a:r>
          </a:p>
          <a:p>
            <a:pPr marL="457200" indent="-457200"/>
            <a:r>
              <a:rPr lang="hu-HU" dirty="0" smtClean="0"/>
              <a:t> 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el-GR" dirty="0">
                <a:cs typeface="Arial"/>
              </a:rPr>
              <a:t> Σ </a:t>
            </a:r>
            <a:r>
              <a:rPr lang="hu-HU" dirty="0" smtClean="0">
                <a:cs typeface="Arial"/>
              </a:rPr>
              <a:t>(</a:t>
            </a:r>
            <a:r>
              <a:rPr lang="hu-HU" dirty="0" err="1" smtClean="0"/>
              <a:t>T</a:t>
            </a:r>
            <a:r>
              <a:rPr lang="hu-HU" sz="1600" dirty="0" err="1" smtClean="0"/>
              <a:t>be</a:t>
            </a:r>
            <a:r>
              <a:rPr lang="hu-HU" dirty="0" smtClean="0"/>
              <a:t>) ± </a:t>
            </a:r>
            <a:r>
              <a:rPr lang="el-GR" dirty="0">
                <a:cs typeface="Arial"/>
              </a:rPr>
              <a:t>Σ </a:t>
            </a:r>
            <a:r>
              <a:rPr lang="hu-HU" dirty="0" smtClean="0">
                <a:cs typeface="Arial"/>
              </a:rPr>
              <a:t>(</a:t>
            </a:r>
            <a:r>
              <a:rPr lang="el-GR" dirty="0" smtClean="0">
                <a:cs typeface="Arial"/>
              </a:rPr>
              <a:t>Δ</a:t>
            </a:r>
            <a:r>
              <a:rPr lang="hu-HU" dirty="0" smtClean="0"/>
              <a:t> (</a:t>
            </a:r>
            <a:r>
              <a:rPr lang="hu-HU" dirty="0" err="1" smtClean="0"/>
              <a:t>T</a:t>
            </a:r>
            <a:r>
              <a:rPr lang="hu-HU" sz="1600" dirty="0" err="1" smtClean="0"/>
              <a:t>projekt</a:t>
            </a:r>
            <a:r>
              <a:rPr lang="hu-HU" dirty="0" smtClean="0"/>
              <a:t>) </a:t>
            </a:r>
            <a:r>
              <a:rPr lang="hu-HU" dirty="0"/>
              <a:t>= </a:t>
            </a:r>
            <a:r>
              <a:rPr lang="el-GR" dirty="0" smtClean="0">
                <a:latin typeface="Arial"/>
                <a:cs typeface="Arial"/>
              </a:rPr>
              <a:t>Σ</a:t>
            </a:r>
            <a:r>
              <a:rPr lang="hu-HU" dirty="0" smtClean="0">
                <a:latin typeface="Arial"/>
                <a:cs typeface="Arial"/>
              </a:rPr>
              <a:t> (</a:t>
            </a:r>
            <a:r>
              <a:rPr lang="hu-HU" dirty="0" err="1" smtClean="0"/>
              <a:t>T</a:t>
            </a:r>
            <a:r>
              <a:rPr lang="hu-HU" sz="1600" dirty="0" err="1" smtClean="0"/>
              <a:t>ki</a:t>
            </a:r>
            <a:r>
              <a:rPr lang="hu-HU" dirty="0" smtClean="0"/>
              <a:t>)</a:t>
            </a:r>
          </a:p>
          <a:p>
            <a:pPr marL="457200" indent="-457200"/>
            <a:endParaRPr lang="hu-HU" dirty="0" smtClean="0"/>
          </a:p>
          <a:p>
            <a:pPr marL="457200" indent="-457200">
              <a:buFont typeface="+mj-lt"/>
              <a:buAutoNum type="arabicPeriod" startAt="2"/>
            </a:pPr>
            <a:r>
              <a:rPr lang="hu-HU" dirty="0" smtClean="0">
                <a:cs typeface="Arial"/>
              </a:rPr>
              <a:t>Optimum: </a:t>
            </a:r>
            <a:r>
              <a:rPr lang="el-GR" dirty="0" smtClean="0">
                <a:cs typeface="Arial"/>
              </a:rPr>
              <a:t>Σ</a:t>
            </a:r>
            <a:r>
              <a:rPr lang="hu-HU" dirty="0" smtClean="0">
                <a:cs typeface="Arial"/>
              </a:rPr>
              <a:t> </a:t>
            </a:r>
            <a:r>
              <a:rPr lang="hu-HU" dirty="0">
                <a:cs typeface="Arial"/>
              </a:rPr>
              <a:t>(</a:t>
            </a:r>
            <a:r>
              <a:rPr lang="hu-HU" dirty="0" err="1"/>
              <a:t>T</a:t>
            </a:r>
            <a:r>
              <a:rPr lang="hu-HU" sz="1600" dirty="0" err="1"/>
              <a:t>ki</a:t>
            </a:r>
            <a:r>
              <a:rPr lang="hu-HU" dirty="0"/>
              <a:t>)= </a:t>
            </a:r>
            <a:r>
              <a:rPr lang="hu-HU" dirty="0" smtClean="0"/>
              <a:t>ɳ</a:t>
            </a:r>
            <a:r>
              <a:rPr lang="hu-HU" sz="1600" dirty="0" smtClean="0"/>
              <a:t>1</a:t>
            </a:r>
            <a:r>
              <a:rPr lang="hu-HU" dirty="0" smtClean="0"/>
              <a:t> </a:t>
            </a:r>
            <a:r>
              <a:rPr lang="el-GR" dirty="0" smtClean="0">
                <a:cs typeface="Arial"/>
              </a:rPr>
              <a:t>Σ </a:t>
            </a:r>
            <a:r>
              <a:rPr lang="hu-HU" dirty="0" smtClean="0">
                <a:cs typeface="Arial"/>
              </a:rPr>
              <a:t>(</a:t>
            </a:r>
            <a:r>
              <a:rPr lang="hu-HU" dirty="0" err="1" smtClean="0"/>
              <a:t>T</a:t>
            </a:r>
            <a:r>
              <a:rPr lang="hu-HU" sz="1600" dirty="0" err="1" smtClean="0"/>
              <a:t>kiértékelt</a:t>
            </a:r>
            <a:r>
              <a:rPr lang="hu-HU" dirty="0" smtClean="0"/>
              <a:t>)=ɳ</a:t>
            </a:r>
            <a:r>
              <a:rPr lang="hu-HU" sz="1600" dirty="0" smtClean="0"/>
              <a:t>2</a:t>
            </a:r>
            <a:r>
              <a:rPr lang="hu-HU" dirty="0" smtClean="0"/>
              <a:t> </a:t>
            </a:r>
            <a:r>
              <a:rPr lang="el-GR" dirty="0">
                <a:cs typeface="Arial"/>
              </a:rPr>
              <a:t>Σ </a:t>
            </a:r>
            <a:r>
              <a:rPr lang="hu-HU" dirty="0" smtClean="0">
                <a:cs typeface="Arial"/>
              </a:rPr>
              <a:t>(</a:t>
            </a:r>
            <a:r>
              <a:rPr lang="hu-HU" dirty="0" err="1" smtClean="0"/>
              <a:t>T</a:t>
            </a:r>
            <a:r>
              <a:rPr lang="hu-HU" sz="1600" dirty="0" err="1" smtClean="0"/>
              <a:t>újrahasznosítható</a:t>
            </a:r>
            <a:r>
              <a:rPr lang="hu-HU" dirty="0" smtClean="0"/>
              <a:t>)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15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agyar </a:t>
            </a:r>
            <a:r>
              <a:rPr lang="hu-HU" dirty="0" err="1" smtClean="0"/>
              <a:t>pm</a:t>
            </a:r>
            <a:r>
              <a:rPr lang="hu-HU" dirty="0" smtClean="0"/>
              <a:t> kultúra jellemző tünetei </a:t>
            </a:r>
            <a:br>
              <a:rPr lang="hu-HU" dirty="0" smtClean="0"/>
            </a:br>
            <a:r>
              <a:rPr lang="hu-HU" sz="2400" dirty="0" smtClean="0"/>
              <a:t>(9 év IPMA vizsgabiztosi tapasztalatok alapján)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08000" y="1092200"/>
            <a:ext cx="8280400" cy="4216400"/>
          </a:xfrm>
        </p:spPr>
        <p:txBody>
          <a:bodyPr/>
          <a:lstStyle/>
          <a:p>
            <a:r>
              <a:rPr lang="hu-HU" sz="2000" b="1" dirty="0"/>
              <a:t>Tbe: </a:t>
            </a:r>
            <a:r>
              <a:rPr lang="hu-HU" sz="2000" b="1" dirty="0" smtClean="0"/>
              <a:t>nagyon szerény </a:t>
            </a:r>
            <a:endParaRPr lang="hu-HU" sz="2000" b="1" dirty="0"/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 smtClean="0"/>
              <a:t>    nem </a:t>
            </a:r>
            <a:r>
              <a:rPr lang="hu-HU" sz="1600" dirty="0"/>
              <a:t>tanítjuk (általános, közép és felsőfokú iskolákban sem), </a:t>
            </a:r>
            <a:r>
              <a:rPr lang="hu-HU" sz="1600" dirty="0" smtClean="0"/>
              <a:t>Bloom </a:t>
            </a:r>
            <a:r>
              <a:rPr lang="hu-HU" sz="1600" dirty="0"/>
              <a:t>forog a </a:t>
            </a:r>
            <a:r>
              <a:rPr lang="hu-HU" sz="1600" dirty="0" smtClean="0"/>
              <a:t>sírjában</a:t>
            </a:r>
            <a:endParaRPr lang="hu-HU" sz="1600" dirty="0"/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 smtClean="0"/>
              <a:t>    a cégek is egyre </a:t>
            </a:r>
            <a:r>
              <a:rPr lang="hu-HU" sz="1600" dirty="0"/>
              <a:t>kevesebbet fordítanak erre, (nem írnak és nem olvasnak)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 smtClean="0"/>
              <a:t>    nem </a:t>
            </a:r>
            <a:r>
              <a:rPr lang="hu-HU" sz="1600" dirty="0"/>
              <a:t>követelmény a szükséges pm kompetencia, 1 perc alatt </a:t>
            </a:r>
            <a:r>
              <a:rPr lang="hu-HU" sz="1600" dirty="0" smtClean="0"/>
              <a:t>bárkiből lehet </a:t>
            </a:r>
            <a:r>
              <a:rPr lang="hu-HU" sz="1600" dirty="0"/>
              <a:t>projekt </a:t>
            </a:r>
            <a:r>
              <a:rPr lang="hu-HU" sz="1600" dirty="0" smtClean="0"/>
              <a:t>	menedzser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 smtClean="0"/>
              <a:t>    magas korrupciós indexünk miatt nincs értéke a valódi (</a:t>
            </a:r>
            <a:r>
              <a:rPr lang="hu-HU" sz="1600" dirty="0" err="1" smtClean="0"/>
              <a:t>pm</a:t>
            </a:r>
            <a:r>
              <a:rPr lang="hu-HU" sz="1600" dirty="0" smtClean="0"/>
              <a:t>) tudásnak! </a:t>
            </a:r>
            <a:br>
              <a:rPr lang="hu-HU" sz="1600" dirty="0" smtClean="0"/>
            </a:br>
            <a:r>
              <a:rPr lang="hu-HU" sz="1600" dirty="0" smtClean="0"/>
              <a:t>	(lásd </a:t>
            </a:r>
            <a:r>
              <a:rPr lang="hu-HU" sz="1600" dirty="0" err="1" smtClean="0"/>
              <a:t>Transparency</a:t>
            </a:r>
            <a:r>
              <a:rPr lang="hu-HU" sz="1600" dirty="0" smtClean="0"/>
              <a:t> International, </a:t>
            </a:r>
            <a:r>
              <a:rPr lang="hu-HU" sz="1600" dirty="0" err="1" smtClean="0"/>
              <a:t>Corvinus</a:t>
            </a:r>
            <a:r>
              <a:rPr lang="hu-HU" sz="1600" dirty="0" smtClean="0"/>
              <a:t> Egyetem elemzések)</a:t>
            </a:r>
            <a:endParaRPr lang="hu-HU" sz="1800" dirty="0"/>
          </a:p>
          <a:p>
            <a:r>
              <a:rPr lang="hu-HU" sz="2000" b="1" dirty="0" err="1" smtClean="0"/>
              <a:t>Tprojekt</a:t>
            </a:r>
            <a:r>
              <a:rPr lang="hu-HU" sz="2000" b="1" dirty="0"/>
              <a:t>: </a:t>
            </a:r>
            <a:r>
              <a:rPr lang="hu-HU" sz="2000" b="1" dirty="0" smtClean="0"/>
              <a:t>induláskor </a:t>
            </a:r>
            <a:r>
              <a:rPr lang="hu-HU" sz="2000" b="1" dirty="0"/>
              <a:t>nem </a:t>
            </a:r>
            <a:r>
              <a:rPr lang="hu-HU" sz="2000" b="1" dirty="0" smtClean="0"/>
              <a:t>elégséges </a:t>
            </a:r>
            <a:endParaRPr lang="hu-HU" sz="2000" b="1" dirty="0"/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/>
              <a:t>    felső-, középvezetői, szponzori és projekt vezetői, közreműködői szinten sem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/>
              <a:t>    ritkán </a:t>
            </a:r>
            <a:r>
              <a:rPr lang="hu-HU" sz="1600" dirty="0" smtClean="0"/>
              <a:t>hasznosítják az </a:t>
            </a:r>
            <a:r>
              <a:rPr lang="hu-HU" sz="1600" dirty="0"/>
              <a:t>előző projektek tudását és tapasztalatát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/>
              <a:t>    közreműködők nem ismerik (eléggé) egymást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/>
              <a:t>    menet közben nem gyűjtik a tapasztalatokat, ezért nem is publikálják</a:t>
            </a:r>
          </a:p>
          <a:p>
            <a:r>
              <a:rPr lang="hu-HU" sz="2000" b="1" dirty="0"/>
              <a:t>Tki: </a:t>
            </a:r>
            <a:r>
              <a:rPr lang="hu-HU" sz="2000" b="1" dirty="0" smtClean="0"/>
              <a:t>elméletileg </a:t>
            </a:r>
            <a:r>
              <a:rPr lang="hu-HU" sz="2000" b="1" dirty="0"/>
              <a:t>több (főleg a tacit)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800" dirty="0" smtClean="0"/>
              <a:t>    </a:t>
            </a:r>
            <a:r>
              <a:rPr lang="hu-HU" sz="1600" dirty="0"/>
              <a:t>a tudásszomjnak kicsi a „</a:t>
            </a:r>
            <a:r>
              <a:rPr lang="hu-HU" sz="1600" dirty="0" err="1"/>
              <a:t>vitálkapacitása</a:t>
            </a:r>
            <a:r>
              <a:rPr lang="hu-HU" sz="1600" dirty="0"/>
              <a:t>”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800" dirty="0"/>
              <a:t> </a:t>
            </a:r>
            <a:r>
              <a:rPr lang="hu-HU" sz="1800" dirty="0" smtClean="0"/>
              <a:t>   </a:t>
            </a:r>
            <a:r>
              <a:rPr lang="hu-HU" sz="1600" dirty="0" smtClean="0"/>
              <a:t>az </a:t>
            </a:r>
            <a:r>
              <a:rPr lang="hu-HU" sz="1600" dirty="0"/>
              <a:t>eredményeket nagyon ritkán mérik vissza a </a:t>
            </a:r>
            <a:r>
              <a:rPr lang="hu-HU" sz="1600" dirty="0" smtClean="0"/>
              <a:t>tervhez, (reális terv hiányában nehéz)</a:t>
            </a:r>
            <a:endParaRPr lang="hu-HU" sz="1600" dirty="0"/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/>
              <a:t>    a gyakorlatban elvétve értékelik és még kevésbé </a:t>
            </a:r>
            <a:r>
              <a:rPr lang="hu-HU" sz="1600" dirty="0" smtClean="0"/>
              <a:t>hasznosítják újra</a:t>
            </a:r>
            <a:endParaRPr lang="hu-HU" sz="1600" dirty="0"/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/>
              <a:t>    a tudásmegosztás kezdetleges és eseti (projektek között, cégen belül és </a:t>
            </a:r>
            <a:r>
              <a:rPr lang="hu-HU" sz="1600" dirty="0" smtClean="0"/>
              <a:t>cégen </a:t>
            </a:r>
            <a:r>
              <a:rPr lang="hu-HU" sz="1600" dirty="0"/>
              <a:t>kívül </a:t>
            </a:r>
            <a:r>
              <a:rPr lang="hu-HU" sz="1600" dirty="0" smtClean="0"/>
              <a:t>)</a:t>
            </a:r>
            <a:endParaRPr lang="hu-HU" sz="1600" dirty="0"/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hu-HU" sz="1600" dirty="0"/>
              <a:t>    a pm konferenciák száma nő, de sem tartalmában, sem méretében nem éri </a:t>
            </a:r>
            <a:r>
              <a:rPr lang="hu-HU" sz="1600" dirty="0" smtClean="0"/>
              <a:t>el </a:t>
            </a:r>
            <a:r>
              <a:rPr lang="hu-HU" sz="1600" dirty="0"/>
              <a:t>a </a:t>
            </a:r>
            <a:r>
              <a:rPr lang="hu-HU" sz="1600" dirty="0" smtClean="0"/>
              <a:t>	szükséges mértéket.</a:t>
            </a:r>
            <a:endParaRPr lang="hu-HU"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718267" y="1077323"/>
            <a:ext cx="8077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 anchor="ctr"/>
          <a:lstStyle/>
          <a:p>
            <a:pPr marL="514297" indent="-514297">
              <a:lnSpc>
                <a:spcPct val="85000"/>
              </a:lnSpc>
            </a:pPr>
            <a:r>
              <a:rPr lang="hu-HU" dirty="0" smtClean="0">
                <a:solidFill>
                  <a:srgbClr val="000099"/>
                </a:solidFill>
              </a:rPr>
              <a:t>KSA</a:t>
            </a:r>
            <a:r>
              <a:rPr lang="hu-HU" dirty="0">
                <a:solidFill>
                  <a:srgbClr val="000099"/>
                </a:solidFill>
              </a:rPr>
              <a:t>: </a:t>
            </a:r>
            <a:r>
              <a:rPr lang="hu-HU" dirty="0" err="1">
                <a:solidFill>
                  <a:srgbClr val="000099"/>
                </a:solidFill>
              </a:rPr>
              <a:t>Knowledge</a:t>
            </a:r>
            <a:r>
              <a:rPr lang="hu-HU" dirty="0">
                <a:solidFill>
                  <a:srgbClr val="000099"/>
                </a:solidFill>
              </a:rPr>
              <a:t>, </a:t>
            </a:r>
            <a:r>
              <a:rPr lang="hu-HU" dirty="0" err="1">
                <a:solidFill>
                  <a:srgbClr val="000099"/>
                </a:solidFill>
              </a:rPr>
              <a:t>Skills</a:t>
            </a:r>
            <a:r>
              <a:rPr lang="hu-HU" dirty="0">
                <a:solidFill>
                  <a:srgbClr val="000099"/>
                </a:solidFill>
              </a:rPr>
              <a:t>, </a:t>
            </a:r>
            <a:r>
              <a:rPr lang="hu-HU" dirty="0" err="1" smtClean="0">
                <a:solidFill>
                  <a:srgbClr val="000099"/>
                </a:solidFill>
              </a:rPr>
              <a:t>Attitude</a:t>
            </a:r>
            <a:r>
              <a:rPr lang="hu-HU" dirty="0" smtClean="0">
                <a:solidFill>
                  <a:srgbClr val="000099"/>
                </a:solidFill>
              </a:rPr>
              <a:t> </a:t>
            </a:r>
            <a:br>
              <a:rPr lang="hu-HU" dirty="0" smtClean="0">
                <a:solidFill>
                  <a:srgbClr val="000099"/>
                </a:solidFill>
              </a:rPr>
            </a:br>
            <a:r>
              <a:rPr lang="hu-HU" dirty="0" smtClean="0">
                <a:solidFill>
                  <a:srgbClr val="000099"/>
                </a:solidFill>
              </a:rPr>
              <a:t>(</a:t>
            </a:r>
            <a:r>
              <a:rPr lang="hu-HU" dirty="0">
                <a:solidFill>
                  <a:srgbClr val="000099"/>
                </a:solidFill>
              </a:rPr>
              <a:t>IPMA Project </a:t>
            </a:r>
            <a:r>
              <a:rPr lang="hu-HU" dirty="0" err="1">
                <a:solidFill>
                  <a:srgbClr val="000099"/>
                </a:solidFill>
              </a:rPr>
              <a:t>Roadmap</a:t>
            </a:r>
            <a:r>
              <a:rPr lang="hu-HU" dirty="0">
                <a:solidFill>
                  <a:srgbClr val="000099"/>
                </a:solidFill>
              </a:rPr>
              <a:t>) </a:t>
            </a:r>
            <a:endParaRPr lang="en-US" dirty="0">
              <a:solidFill>
                <a:srgbClr val="000099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aphicFrame>
        <p:nvGraphicFramePr>
          <p:cNvPr id="12" name="Diagram 11"/>
          <p:cNvGraphicFramePr/>
          <p:nvPr/>
        </p:nvGraphicFramePr>
        <p:xfrm>
          <a:off x="1175490" y="2383810"/>
          <a:ext cx="5486669" cy="36581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Cím 1"/>
          <p:cNvSpPr txBox="1">
            <a:spLocks/>
          </p:cNvSpPr>
          <p:nvPr/>
        </p:nvSpPr>
        <p:spPr>
          <a:xfrm>
            <a:off x="609600" y="27940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ts val="3100"/>
              </a:lnSpc>
              <a:spcBef>
                <a:spcPct val="0"/>
              </a:spcBef>
            </a:pPr>
            <a:r>
              <a:rPr lang="hu-HU" sz="2800" b="1" dirty="0" smtClean="0">
                <a:solidFill>
                  <a:srgbClr val="000099"/>
                </a:solidFill>
              </a:rPr>
              <a:t>A kompetencia fejlesztés a Bloom taxonómia fő tartományai alapján</a:t>
            </a:r>
            <a:endParaRPr kumimoji="0" lang="hu-HU" sz="2800" b="1" i="0" u="none" strike="noStrike" kern="120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Graphic spid="12" grpId="0">
        <p:bldAsOne/>
      </p:bldGraphic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587632" y="4408865"/>
            <a:ext cx="8077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 anchor="ctr"/>
          <a:lstStyle/>
          <a:p>
            <a:pPr>
              <a:lnSpc>
                <a:spcPct val="85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hu-HU" sz="2000" dirty="0" smtClean="0">
                <a:solidFill>
                  <a:srgbClr val="000099"/>
                </a:solidFill>
              </a:rPr>
              <a:t>     Ez nem került kidolgozásra, mert erősen iparág / projekt függő.</a:t>
            </a:r>
          </a:p>
          <a:p>
            <a:pPr>
              <a:lnSpc>
                <a:spcPct val="85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hu-HU" sz="2000" dirty="0" smtClean="0">
                <a:solidFill>
                  <a:srgbClr val="000099"/>
                </a:solidFill>
              </a:rPr>
              <a:t>     Az ülő munkakörök elterjedése óta egyre satnyul.</a:t>
            </a:r>
          </a:p>
          <a:p>
            <a:pPr>
              <a:lnSpc>
                <a:spcPct val="85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hu-HU" sz="2000" dirty="0" smtClean="0">
                <a:solidFill>
                  <a:srgbClr val="000099"/>
                </a:solidFill>
              </a:rPr>
              <a:t>     A mozgás és az agyi tevékenység között szoros az összefüggés.</a:t>
            </a:r>
          </a:p>
          <a:p>
            <a:pPr>
              <a:lnSpc>
                <a:spcPct val="85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hu-HU" sz="2000" dirty="0" smtClean="0">
                <a:solidFill>
                  <a:srgbClr val="000099"/>
                </a:solidFill>
              </a:rPr>
              <a:t>     Agyunk kialakulása és fejlődése a mozgáskoordináció érdekében 	történt.</a:t>
            </a:r>
          </a:p>
          <a:p>
            <a:pPr>
              <a:lnSpc>
                <a:spcPct val="85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hu-HU" sz="2000" dirty="0" smtClean="0">
                <a:solidFill>
                  <a:srgbClr val="000099"/>
                </a:solidFill>
              </a:rPr>
              <a:t>     Az agy evolúciós fejlődése megállt, elkezdett visszafejlődni.</a:t>
            </a:r>
            <a:endParaRPr lang="en-US" sz="2000" dirty="0">
              <a:solidFill>
                <a:srgbClr val="000099"/>
              </a:solidFill>
            </a:endParaRPr>
          </a:p>
        </p:txBody>
      </p:sp>
      <p:graphicFrame>
        <p:nvGraphicFramePr>
          <p:cNvPr id="12" name="Diagram 11"/>
          <p:cNvGraphicFramePr/>
          <p:nvPr/>
        </p:nvGraphicFramePr>
        <p:xfrm>
          <a:off x="1110173" y="1861216"/>
          <a:ext cx="6851758" cy="4272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Cím 1"/>
          <p:cNvSpPr txBox="1">
            <a:spLocks/>
          </p:cNvSpPr>
          <p:nvPr/>
        </p:nvSpPr>
        <p:spPr>
          <a:xfrm>
            <a:off x="609600" y="27940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lnSpc>
                <a:spcPts val="3100"/>
              </a:lnSpc>
              <a:spcBef>
                <a:spcPct val="0"/>
              </a:spcBef>
            </a:pPr>
            <a:r>
              <a:rPr lang="hu-HU" sz="2800" b="1" dirty="0" smtClean="0">
                <a:solidFill>
                  <a:srgbClr val="000099"/>
                </a:solidFill>
              </a:rPr>
              <a:t>A Bloom taxonómia </a:t>
            </a:r>
            <a:r>
              <a:rPr lang="hu-HU" sz="2800" b="1" dirty="0" err="1" smtClean="0">
                <a:solidFill>
                  <a:srgbClr val="000099"/>
                </a:solidFill>
              </a:rPr>
              <a:t>pszichomotoros</a:t>
            </a:r>
            <a:r>
              <a:rPr lang="hu-HU" sz="2800" b="1" dirty="0" smtClean="0">
                <a:solidFill>
                  <a:srgbClr val="000099"/>
                </a:solidFill>
              </a:rPr>
              <a:t> tartománya </a:t>
            </a:r>
            <a:r>
              <a:rPr lang="hu-HU" sz="2800" b="1" dirty="0" smtClean="0">
                <a:solidFill>
                  <a:srgbClr val="000099"/>
                </a:solidFill>
              </a:rPr>
              <a:t>(</a:t>
            </a:r>
            <a:r>
              <a:rPr lang="hu-HU" sz="2800" b="1" dirty="0" smtClean="0">
                <a:solidFill>
                  <a:srgbClr val="000099"/>
                </a:solidFill>
              </a:rPr>
              <a:t>fizikai mozgás, kézi műveletek)</a:t>
            </a:r>
            <a:endParaRPr kumimoji="0" lang="hu-HU" sz="2800" b="1" i="0" u="none" strike="noStrike" kern="120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1" build="allAtOnce"/>
      <p:bldGraphic spid="12" grpId="0">
        <p:bldAsOne/>
      </p:bldGraphic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6.0"/>
  <p:tag name="BASIS" val="EONVorlag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rzXYdk.IUGkh8AXo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M_iW1Y2E.bWsVOBPho8Q"/>
</p:tagLst>
</file>

<file path=ppt/theme/theme1.xml><?xml version="1.0" encoding="utf-8"?>
<a:theme xmlns:a="http://schemas.openxmlformats.org/drawingml/2006/main" name="Larissa-Design">
  <a:themeElements>
    <a:clrScheme name="EON_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80026"/>
      </a:accent1>
      <a:accent2>
        <a:srgbClr val="F21C0A"/>
      </a:accent2>
      <a:accent3>
        <a:srgbClr val="F6756A"/>
      </a:accent3>
      <a:accent4>
        <a:srgbClr val="FFB4A0"/>
      </a:accent4>
      <a:accent5>
        <a:srgbClr val="CD5F0A"/>
      </a:accent5>
      <a:accent6>
        <a:srgbClr val="E47D00"/>
      </a:accent6>
      <a:hlink>
        <a:srgbClr val="F21C0A"/>
      </a:hlink>
      <a:folHlink>
        <a:srgbClr val="F6756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BCBC"/>
        </a:solidFill>
        <a:ln>
          <a:solidFill>
            <a:srgbClr val="BCBCBC"/>
          </a:solidFill>
        </a:ln>
      </a:spPr>
      <a:bodyPr rtlCol="0" anchor="ctr"/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ts val="2400"/>
          </a:lnSpc>
          <a:defRPr dirty="0" err="1" smtClean="0"/>
        </a:defPPr>
      </a:lstStyle>
    </a:txDef>
  </a:objectDefaults>
  <a:extraClrSchemeLst>
    <a:extraClrScheme>
      <a:clrScheme name="EON_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F6756A"/>
        </a:accent3>
        <a:accent4>
          <a:srgbClr val="FFB4A0"/>
        </a:accent4>
        <a:accent5>
          <a:srgbClr val="CD5F0A"/>
        </a:accent5>
        <a:accent6>
          <a:srgbClr val="E47D00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D5F0A"/>
        </a:accent1>
        <a:accent2>
          <a:srgbClr val="E47D00"/>
        </a:accent2>
        <a:accent3>
          <a:srgbClr val="EDAA58"/>
        </a:accent3>
        <a:accent4>
          <a:srgbClr val="F5CFA3"/>
        </a:accent4>
        <a:accent5>
          <a:srgbClr val="8C0855"/>
        </a:accent5>
        <a:accent6>
          <a:srgbClr val="B01B6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8C0855"/>
        </a:accent1>
        <a:accent2>
          <a:srgbClr val="B01B65"/>
        </a:accent2>
        <a:accent3>
          <a:srgbClr val="CB6999"/>
        </a:accent3>
        <a:accent4>
          <a:srgbClr val="E1ADC8"/>
        </a:accent4>
        <a:accent5>
          <a:srgbClr val="673376"/>
        </a:accent5>
        <a:accent6>
          <a:srgbClr val="7C5A9F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673376"/>
        </a:accent1>
        <a:accent2>
          <a:srgbClr val="7C5A9F"/>
        </a:accent2>
        <a:accent3>
          <a:srgbClr val="A58EBE"/>
        </a:accent3>
        <a:accent4>
          <a:srgbClr val="D0C3DC"/>
        </a:accent4>
        <a:accent5>
          <a:srgbClr val="225087"/>
        </a:accent5>
        <a:accent6>
          <a:srgbClr val="2872A3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225087"/>
        </a:accent1>
        <a:accent2>
          <a:srgbClr val="2872A3"/>
        </a:accent2>
        <a:accent3>
          <a:srgbClr val="7DAAC6"/>
        </a:accent3>
        <a:accent4>
          <a:srgbClr val="B4CBDC"/>
        </a:accent4>
        <a:accent5>
          <a:srgbClr val="1E7A67"/>
        </a:accent5>
        <a:accent6>
          <a:srgbClr val="3AA48D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6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E7A67"/>
        </a:accent1>
        <a:accent2>
          <a:srgbClr val="3AA48D"/>
        </a:accent2>
        <a:accent3>
          <a:srgbClr val="7DC3B4"/>
        </a:accent3>
        <a:accent4>
          <a:srgbClr val="89DCD5"/>
        </a:accent4>
        <a:accent5>
          <a:srgbClr val="748120"/>
        </a:accent5>
        <a:accent6>
          <a:srgbClr val="A3A54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48120"/>
        </a:accent1>
        <a:accent2>
          <a:srgbClr val="A3A545"/>
        </a:accent2>
        <a:accent3>
          <a:srgbClr val="C3C385"/>
        </a:accent3>
        <a:accent4>
          <a:srgbClr val="DEDCBB"/>
        </a:accent4>
        <a:accent5>
          <a:srgbClr val="767676"/>
        </a:accent5>
        <a:accent6>
          <a:srgbClr val="9B9B9B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767676"/>
        </a:accent3>
        <a:accent4>
          <a:srgbClr val="9B9B9B"/>
        </a:accent4>
        <a:accent5>
          <a:srgbClr val="BCBCBC"/>
        </a:accent5>
        <a:accent6>
          <a:srgbClr val="D7D7D7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4</TotalTime>
  <Words>569</Words>
  <Application>Microsoft Office PowerPoint</Application>
  <PresentationFormat>Diavetítés a képernyőre (4:3 oldalarány)</PresentationFormat>
  <Paragraphs>111</Paragraphs>
  <Slides>17</Slides>
  <Notes>2</Notes>
  <HiddenSlides>0</HiddenSlides>
  <MMClips>0</MMClips>
  <ScaleCrop>false</ScaleCrop>
  <HeadingPairs>
    <vt:vector size="8" baseType="variant">
      <vt:variant>
        <vt:lpstr>Téma</vt:lpstr>
      </vt:variant>
      <vt:variant>
        <vt:i4>1</vt:i4>
      </vt:variant>
      <vt:variant>
        <vt:lpstr>Csatolások</vt:lpstr>
      </vt:variant>
      <vt:variant>
        <vt:i4>10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7</vt:i4>
      </vt:variant>
    </vt:vector>
  </HeadingPairs>
  <TitlesOfParts>
    <vt:vector size="29" baseType="lpstr">
      <vt:lpstr>Larissa-Design</vt:lpstr>
      <vt:lpstr>C:\Users\Z2378\Documents\Solutions\NPD_rajzok.vsd\Rajz\~EFTM_Project_Modell_2\Folyamat.23</vt:lpstr>
      <vt:lpstr>C:\Users\Z2378\Documents\Solutions\NPD_rajzok.vsd\Rajz\~EFTM_Project_Modell_2\Folyamat.24</vt:lpstr>
      <vt:lpstr>C:\Users\Z2378\Documents\Solutions\NPD_rajzok.vsd\Rajz\~EFTM_Project_Modell_2\KIJELÖLÉS</vt:lpstr>
      <vt:lpstr>C:\Users\Z2378\Documents\Solutions\NPD_rajzok.vsd\Rajz\~EFTM_Project_Modell_2\Folyamat.25</vt:lpstr>
      <vt:lpstr>C:\Users\Z2378\Documents\Solutions\NPD_rajzok.vsd\Rajz\~EFTM_Project_Modell_2\Sheet.25</vt:lpstr>
      <vt:lpstr>C:\Users\Z2378\Documents\Solutions\NPD_rajzok.vsd\Rajz\~EFTM_Project_Modell_2\Folyamat.17</vt:lpstr>
      <vt:lpstr>C:\Users\Z2378\Documents\Solutions\NPD_rajzok.vsd\Rajz\~EFTM_Project_Modell_2\Folyamat.2</vt:lpstr>
      <vt:lpstr>C:\Users\Z2378\Documents\Solutions\NPD_rajzok.vsd\Rajz\~EFTM_Project_Modell_2\Folyamat.7</vt:lpstr>
      <vt:lpstr>C:\Users\Z2378\Documents\Solutions\NPD_rajzok.vsd\Rajz\~EFTM_Project_Modell_2\Folyamat.20</vt:lpstr>
      <vt:lpstr>C:\Users\Z2378\Documents\Solutions\NPD_rajzok.vsd\Rajz\~EFTM_Project_Modell_2\Folyamat.4</vt:lpstr>
      <vt:lpstr>think-cell Slide</vt:lpstr>
      <vt:lpstr>Tudás-menedzsment projekt környezetben </vt:lpstr>
      <vt:lpstr>Témakörök</vt:lpstr>
      <vt:lpstr>Kérdések</vt:lpstr>
      <vt:lpstr>Kérés és kérdések</vt:lpstr>
      <vt:lpstr>A tudás szerepe a projekt menedzsment területén: kritikus sikertényező </vt:lpstr>
      <vt:lpstr>A tudás szerepe a projekt menedzsment területén: kritikus sikertényező </vt:lpstr>
      <vt:lpstr>Magyar pm kultúra jellemző tünetei  (9 év IPMA vizsgabiztosi tapasztalatok alapján)</vt:lpstr>
      <vt:lpstr>8. dia</vt:lpstr>
      <vt:lpstr>9. dia</vt:lpstr>
      <vt:lpstr>10. dia</vt:lpstr>
      <vt:lpstr>11. dia</vt:lpstr>
      <vt:lpstr>Az eredményes és sikeres változtatás kulcs- komponensei </vt:lpstr>
      <vt:lpstr>A projekt menedzsment kompetencia  fejlődési szintjei </vt:lpstr>
      <vt:lpstr>Tudás-menedzsment „Pater Noster” projekt környezetben</vt:lpstr>
      <vt:lpstr>A tudás menedzsment sikertényezői</vt:lpstr>
      <vt:lpstr>A tudás menedzsment sikertényezői</vt:lpstr>
      <vt:lpstr>Elköszönő kérdés</vt:lpstr>
    </vt:vector>
  </TitlesOfParts>
  <Company>E.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.ON PowerPoint</dc:title>
  <dc:creator>Walz, Sebastian</dc:creator>
  <cp:lastModifiedBy>Z2378</cp:lastModifiedBy>
  <cp:revision>245</cp:revision>
  <dcterms:created xsi:type="dcterms:W3CDTF">2012-01-27T11:53:41Z</dcterms:created>
  <dcterms:modified xsi:type="dcterms:W3CDTF">2013-03-12T20:34:22Z</dcterms:modified>
</cp:coreProperties>
</file>